
<file path=[Content_Types].xml><?xml version="1.0" encoding="utf-8"?>
<Types xmlns="http://schemas.openxmlformats.org/package/2006/content-types">
  <Default Extension="avif" ContentType="image/avif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39"/>
  </p:notesMasterIdLst>
  <p:sldIdLst>
    <p:sldId id="398" r:id="rId3"/>
    <p:sldId id="399" r:id="rId4"/>
    <p:sldId id="2972" r:id="rId5"/>
    <p:sldId id="813" r:id="rId6"/>
    <p:sldId id="828" r:id="rId7"/>
    <p:sldId id="823" r:id="rId8"/>
    <p:sldId id="824" r:id="rId9"/>
    <p:sldId id="825" r:id="rId10"/>
    <p:sldId id="826" r:id="rId11"/>
    <p:sldId id="2969" r:id="rId12"/>
    <p:sldId id="829" r:id="rId13"/>
    <p:sldId id="830" r:id="rId14"/>
    <p:sldId id="831" r:id="rId15"/>
    <p:sldId id="833" r:id="rId16"/>
    <p:sldId id="834" r:id="rId17"/>
    <p:sldId id="836" r:id="rId18"/>
    <p:sldId id="837" r:id="rId19"/>
    <p:sldId id="838" r:id="rId20"/>
    <p:sldId id="839" r:id="rId21"/>
    <p:sldId id="840" r:id="rId22"/>
    <p:sldId id="841" r:id="rId23"/>
    <p:sldId id="842" r:id="rId24"/>
    <p:sldId id="843" r:id="rId25"/>
    <p:sldId id="844" r:id="rId26"/>
    <p:sldId id="845" r:id="rId27"/>
    <p:sldId id="2970" r:id="rId28"/>
    <p:sldId id="848" r:id="rId29"/>
    <p:sldId id="849" r:id="rId30"/>
    <p:sldId id="850" r:id="rId31"/>
    <p:sldId id="851" r:id="rId32"/>
    <p:sldId id="855" r:id="rId33"/>
    <p:sldId id="856" r:id="rId34"/>
    <p:sldId id="852" r:id="rId35"/>
    <p:sldId id="854" r:id="rId36"/>
    <p:sldId id="2971" r:id="rId37"/>
    <p:sldId id="822" r:id="rId38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45B"/>
    <a:srgbClr val="ED265B"/>
    <a:srgbClr val="A5A5A5"/>
    <a:srgbClr val="ED7D31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33" autoAdjust="0"/>
    <p:restoredTop sz="84769" autoAdjust="0"/>
  </p:normalViewPr>
  <p:slideViewPr>
    <p:cSldViewPr>
      <p:cViewPr varScale="1">
        <p:scale>
          <a:sx n="97" d="100"/>
          <a:sy n="97" d="100"/>
        </p:scale>
        <p:origin x="1656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28A8F9-2DCA-476E-9889-945EE6326815}" type="doc">
      <dgm:prSet loTypeId="urn:microsoft.com/office/officeart/2005/8/layout/process3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pt-BR"/>
        </a:p>
      </dgm:t>
    </dgm:pt>
    <dgm:pt modelId="{1460F9D8-0C44-4566-8327-37E50C6B6962}">
      <dgm:prSet phldrT="[Texto]"/>
      <dgm:spPr/>
      <dgm:t>
        <a:bodyPr/>
        <a:lstStyle/>
        <a:p>
          <a:r>
            <a:rPr lang="pt-BR" dirty="0"/>
            <a:t>1943</a:t>
          </a:r>
        </a:p>
      </dgm:t>
    </dgm:pt>
    <dgm:pt modelId="{D7A26C22-F70E-454C-B265-38AAAA35388D}" type="parTrans" cxnId="{F4ABD9CE-6716-4AB7-B7FB-03196DE84606}">
      <dgm:prSet/>
      <dgm:spPr/>
      <dgm:t>
        <a:bodyPr/>
        <a:lstStyle/>
        <a:p>
          <a:endParaRPr lang="pt-BR"/>
        </a:p>
      </dgm:t>
    </dgm:pt>
    <dgm:pt modelId="{419326F0-5ABD-4883-BDC9-C4CCF45B4D3D}" type="sibTrans" cxnId="{F4ABD9CE-6716-4AB7-B7FB-03196DE84606}">
      <dgm:prSet/>
      <dgm:spPr/>
      <dgm:t>
        <a:bodyPr/>
        <a:lstStyle/>
        <a:p>
          <a:endParaRPr lang="pt-BR"/>
        </a:p>
      </dgm:t>
    </dgm:pt>
    <dgm:pt modelId="{356865CA-F469-45DF-B125-CFD258908E11}">
      <dgm:prSet phldrT="[Texto]"/>
      <dgm:spPr/>
      <dgm:t>
        <a:bodyPr/>
        <a:lstStyle/>
        <a:p>
          <a:r>
            <a:rPr lang="pt-BR" dirty="0" err="1"/>
            <a:t>McCullock</a:t>
          </a:r>
          <a:r>
            <a:rPr lang="pt-BR" dirty="0"/>
            <a:t> e </a:t>
          </a:r>
          <a:r>
            <a:rPr lang="pt-BR" dirty="0" err="1"/>
            <a:t>Pitts</a:t>
          </a:r>
          <a:endParaRPr lang="pt-BR" dirty="0"/>
        </a:p>
      </dgm:t>
    </dgm:pt>
    <dgm:pt modelId="{AC3125CB-E329-401F-A8B0-246E6750422C}" type="parTrans" cxnId="{69015387-A16A-4B11-B082-402A7F6C9DE8}">
      <dgm:prSet/>
      <dgm:spPr/>
      <dgm:t>
        <a:bodyPr/>
        <a:lstStyle/>
        <a:p>
          <a:endParaRPr lang="pt-BR"/>
        </a:p>
      </dgm:t>
    </dgm:pt>
    <dgm:pt modelId="{086FFB3D-B9E7-49F4-B7D4-EE599B5F0556}" type="sibTrans" cxnId="{69015387-A16A-4B11-B082-402A7F6C9DE8}">
      <dgm:prSet/>
      <dgm:spPr/>
      <dgm:t>
        <a:bodyPr/>
        <a:lstStyle/>
        <a:p>
          <a:endParaRPr lang="pt-BR"/>
        </a:p>
      </dgm:t>
    </dgm:pt>
    <dgm:pt modelId="{C0AB9568-3803-49E5-A39C-C2EBD88B431E}">
      <dgm:prSet phldrT="[Texto]"/>
      <dgm:spPr/>
      <dgm:t>
        <a:bodyPr/>
        <a:lstStyle/>
        <a:p>
          <a:r>
            <a:rPr lang="pt-BR" dirty="0"/>
            <a:t>1948</a:t>
          </a:r>
        </a:p>
      </dgm:t>
    </dgm:pt>
    <dgm:pt modelId="{1958DF4F-77DB-493D-AF4D-E54BCF7B467A}" type="parTrans" cxnId="{CA86C08E-631B-41BE-A52E-4DB90A390820}">
      <dgm:prSet/>
      <dgm:spPr/>
      <dgm:t>
        <a:bodyPr/>
        <a:lstStyle/>
        <a:p>
          <a:endParaRPr lang="pt-BR"/>
        </a:p>
      </dgm:t>
    </dgm:pt>
    <dgm:pt modelId="{EE7F44C6-15B9-4523-99F7-B1BDCA97FCDD}" type="sibTrans" cxnId="{CA86C08E-631B-41BE-A52E-4DB90A390820}">
      <dgm:prSet/>
      <dgm:spPr/>
      <dgm:t>
        <a:bodyPr/>
        <a:lstStyle/>
        <a:p>
          <a:endParaRPr lang="pt-BR"/>
        </a:p>
      </dgm:t>
    </dgm:pt>
    <dgm:pt modelId="{5E151434-4A0A-4AE9-8FAB-3FF6DEF2128B}">
      <dgm:prSet phldrT="[Texto]"/>
      <dgm:spPr/>
      <dgm:t>
        <a:bodyPr/>
        <a:lstStyle/>
        <a:p>
          <a:r>
            <a:rPr lang="pt-BR"/>
            <a:t>N. Wiener</a:t>
          </a:r>
          <a:endParaRPr lang="pt-BR" dirty="0"/>
        </a:p>
      </dgm:t>
    </dgm:pt>
    <dgm:pt modelId="{EAA3F34E-2B38-47E3-AD00-72628F3407C2}" type="parTrans" cxnId="{C87799E3-E0A9-4ADA-BE2A-9110C05B3A97}">
      <dgm:prSet/>
      <dgm:spPr/>
      <dgm:t>
        <a:bodyPr/>
        <a:lstStyle/>
        <a:p>
          <a:endParaRPr lang="pt-BR"/>
        </a:p>
      </dgm:t>
    </dgm:pt>
    <dgm:pt modelId="{31BB4A61-0E71-4279-AB41-F1510E6F4A69}" type="sibTrans" cxnId="{C87799E3-E0A9-4ADA-BE2A-9110C05B3A97}">
      <dgm:prSet/>
      <dgm:spPr/>
      <dgm:t>
        <a:bodyPr/>
        <a:lstStyle/>
        <a:p>
          <a:endParaRPr lang="pt-BR"/>
        </a:p>
      </dgm:t>
    </dgm:pt>
    <dgm:pt modelId="{52F826F8-BCA7-4EDE-8143-6A07245012C0}">
      <dgm:prSet phldrT="[Texto]"/>
      <dgm:spPr/>
      <dgm:t>
        <a:bodyPr/>
        <a:lstStyle/>
        <a:p>
          <a:r>
            <a:rPr lang="pt-BR" dirty="0"/>
            <a:t>1949</a:t>
          </a:r>
        </a:p>
      </dgm:t>
    </dgm:pt>
    <dgm:pt modelId="{0D93F39E-15A2-405C-91BD-28548E467163}" type="parTrans" cxnId="{D516395C-3A6D-4B8A-A72C-303CC77986FC}">
      <dgm:prSet/>
      <dgm:spPr/>
      <dgm:t>
        <a:bodyPr/>
        <a:lstStyle/>
        <a:p>
          <a:endParaRPr lang="pt-BR"/>
        </a:p>
      </dgm:t>
    </dgm:pt>
    <dgm:pt modelId="{BFD4C19D-F8AB-4C9D-A628-A6F559EBC3AB}" type="sibTrans" cxnId="{D516395C-3A6D-4B8A-A72C-303CC77986FC}">
      <dgm:prSet/>
      <dgm:spPr/>
      <dgm:t>
        <a:bodyPr/>
        <a:lstStyle/>
        <a:p>
          <a:endParaRPr lang="pt-BR"/>
        </a:p>
      </dgm:t>
    </dgm:pt>
    <dgm:pt modelId="{EB466DCA-886C-449E-9DF9-40EB79984C3B}">
      <dgm:prSet phldrT="[Texto]"/>
      <dgm:spPr/>
      <dgm:t>
        <a:bodyPr/>
        <a:lstStyle/>
        <a:p>
          <a:r>
            <a:rPr lang="pt-BR" dirty="0"/>
            <a:t>Donald O. </a:t>
          </a:r>
          <a:r>
            <a:rPr lang="pt-BR" dirty="0" err="1"/>
            <a:t>Hebb</a:t>
          </a:r>
          <a:endParaRPr lang="pt-BR" dirty="0"/>
        </a:p>
      </dgm:t>
    </dgm:pt>
    <dgm:pt modelId="{38F8A0EF-23AB-4B08-B15A-D60E3735A860}" type="parTrans" cxnId="{74CD67A4-1AB3-4A7E-9EC8-9BEFF43389E4}">
      <dgm:prSet/>
      <dgm:spPr/>
      <dgm:t>
        <a:bodyPr/>
        <a:lstStyle/>
        <a:p>
          <a:endParaRPr lang="pt-BR"/>
        </a:p>
      </dgm:t>
    </dgm:pt>
    <dgm:pt modelId="{FB8544DB-C017-4594-BD37-584BCA758571}" type="sibTrans" cxnId="{74CD67A4-1AB3-4A7E-9EC8-9BEFF43389E4}">
      <dgm:prSet/>
      <dgm:spPr/>
      <dgm:t>
        <a:bodyPr/>
        <a:lstStyle/>
        <a:p>
          <a:endParaRPr lang="pt-BR"/>
        </a:p>
      </dgm:t>
    </dgm:pt>
    <dgm:pt modelId="{414F5A0E-3BEA-4A1A-9C2F-FCE1E571A85C}">
      <dgm:prSet phldrT="[Texto]"/>
      <dgm:spPr/>
      <dgm:t>
        <a:bodyPr/>
        <a:lstStyle/>
        <a:p>
          <a:r>
            <a:rPr lang="pt-BR" dirty="0"/>
            <a:t>Primeira Rede Neural </a:t>
          </a:r>
        </a:p>
      </dgm:t>
    </dgm:pt>
    <dgm:pt modelId="{3CE031EE-B5E3-4E49-BA9C-9ED30ACA5E9D}" type="parTrans" cxnId="{AC638CA3-CCA5-41D9-9797-715AB8BF7AEC}">
      <dgm:prSet/>
      <dgm:spPr/>
      <dgm:t>
        <a:bodyPr/>
        <a:lstStyle/>
        <a:p>
          <a:endParaRPr lang="pt-BR"/>
        </a:p>
      </dgm:t>
    </dgm:pt>
    <dgm:pt modelId="{D2FF4401-BBC4-4C3F-882D-562C9A007D03}" type="sibTrans" cxnId="{AC638CA3-CCA5-41D9-9797-715AB8BF7AEC}">
      <dgm:prSet/>
      <dgm:spPr/>
      <dgm:t>
        <a:bodyPr/>
        <a:lstStyle/>
        <a:p>
          <a:endParaRPr lang="pt-BR"/>
        </a:p>
      </dgm:t>
    </dgm:pt>
    <dgm:pt modelId="{6708F956-462D-47C3-B4ED-E36732D7D626}">
      <dgm:prSet phldrT="[Texto]"/>
      <dgm:spPr/>
      <dgm:t>
        <a:bodyPr/>
        <a:lstStyle/>
        <a:p>
          <a:r>
            <a:rPr lang="pt-BR" dirty="0"/>
            <a:t>Neurônio como processamento binário</a:t>
          </a:r>
        </a:p>
      </dgm:t>
    </dgm:pt>
    <dgm:pt modelId="{1FB83154-3F85-4E4D-BF71-C5D24E3932DE}" type="parTrans" cxnId="{04FD1013-BAEE-4882-ABFE-796359A5EB1B}">
      <dgm:prSet/>
      <dgm:spPr/>
      <dgm:t>
        <a:bodyPr/>
        <a:lstStyle/>
        <a:p>
          <a:endParaRPr lang="pt-BR"/>
        </a:p>
      </dgm:t>
    </dgm:pt>
    <dgm:pt modelId="{3BD3F296-190A-4E28-B351-A9B33587E92D}" type="sibTrans" cxnId="{04FD1013-BAEE-4882-ABFE-796359A5EB1B}">
      <dgm:prSet/>
      <dgm:spPr/>
      <dgm:t>
        <a:bodyPr/>
        <a:lstStyle/>
        <a:p>
          <a:endParaRPr lang="pt-BR"/>
        </a:p>
      </dgm:t>
    </dgm:pt>
    <dgm:pt modelId="{2A8F6678-5FD1-4214-AD17-E6790691F99B}">
      <dgm:prSet/>
      <dgm:spPr/>
      <dgm:t>
        <a:bodyPr/>
        <a:lstStyle/>
        <a:p>
          <a:r>
            <a:rPr lang="pt-BR" dirty="0"/>
            <a:t>Conceito de Cibernética</a:t>
          </a:r>
        </a:p>
      </dgm:t>
    </dgm:pt>
    <dgm:pt modelId="{AB3D70BE-29BF-475D-9951-5F4122B0B106}" type="parTrans" cxnId="{E6117515-96E0-4A23-816B-CA12F5B17EB9}">
      <dgm:prSet/>
      <dgm:spPr/>
      <dgm:t>
        <a:bodyPr/>
        <a:lstStyle/>
        <a:p>
          <a:endParaRPr lang="pt-BR"/>
        </a:p>
      </dgm:t>
    </dgm:pt>
    <dgm:pt modelId="{4767E1A6-796F-4C30-9DB8-75EC7A7397CD}" type="sibTrans" cxnId="{E6117515-96E0-4A23-816B-CA12F5B17EB9}">
      <dgm:prSet/>
      <dgm:spPr/>
      <dgm:t>
        <a:bodyPr/>
        <a:lstStyle/>
        <a:p>
          <a:endParaRPr lang="pt-BR"/>
        </a:p>
      </dgm:t>
    </dgm:pt>
    <dgm:pt modelId="{2B761867-F522-439D-B0B5-44405EF7CF68}">
      <dgm:prSet phldrT="[Texto]"/>
      <dgm:spPr/>
      <dgm:t>
        <a:bodyPr/>
        <a:lstStyle/>
        <a:p>
          <a:r>
            <a:rPr lang="pt-BR" dirty="0"/>
            <a:t>Hipótese da alteração da força sináptica no comportamento</a:t>
          </a:r>
        </a:p>
      </dgm:t>
    </dgm:pt>
    <dgm:pt modelId="{CC0AAD65-AEB8-44E8-860D-BF61DCEBA0DE}" type="parTrans" cxnId="{5170701F-0BC5-4FF1-A408-EE5E8B676297}">
      <dgm:prSet/>
      <dgm:spPr/>
      <dgm:t>
        <a:bodyPr/>
        <a:lstStyle/>
        <a:p>
          <a:endParaRPr lang="pt-BR"/>
        </a:p>
      </dgm:t>
    </dgm:pt>
    <dgm:pt modelId="{D0FBE3CF-E340-4E6C-A19E-DF36BA22ABF2}" type="sibTrans" cxnId="{5170701F-0BC5-4FF1-A408-EE5E8B676297}">
      <dgm:prSet/>
      <dgm:spPr/>
      <dgm:t>
        <a:bodyPr/>
        <a:lstStyle/>
        <a:p>
          <a:endParaRPr lang="pt-BR"/>
        </a:p>
      </dgm:t>
    </dgm:pt>
    <dgm:pt modelId="{51BA1070-2A53-4AB7-B98A-1AB1F818F619}">
      <dgm:prSet phldrT="[Texto]"/>
      <dgm:spPr/>
      <dgm:t>
        <a:bodyPr/>
        <a:lstStyle/>
        <a:p>
          <a:r>
            <a:rPr lang="pt-BR" dirty="0"/>
            <a:t>Contribui na teoria das RNA</a:t>
          </a:r>
        </a:p>
      </dgm:t>
    </dgm:pt>
    <dgm:pt modelId="{57F099DE-F5F8-4076-A530-12D9F1D5C910}" type="parTrans" cxnId="{5A3277A0-6B34-447F-9F5F-7FED7D49E9CC}">
      <dgm:prSet/>
      <dgm:spPr/>
      <dgm:t>
        <a:bodyPr/>
        <a:lstStyle/>
        <a:p>
          <a:endParaRPr lang="pt-BR"/>
        </a:p>
      </dgm:t>
    </dgm:pt>
    <dgm:pt modelId="{A248E437-4748-4D40-85B5-3A427982EDA8}" type="sibTrans" cxnId="{5A3277A0-6B34-447F-9F5F-7FED7D49E9CC}">
      <dgm:prSet/>
      <dgm:spPr/>
      <dgm:t>
        <a:bodyPr/>
        <a:lstStyle/>
        <a:p>
          <a:endParaRPr lang="pt-BR"/>
        </a:p>
      </dgm:t>
    </dgm:pt>
    <dgm:pt modelId="{1E5C696B-CD50-45F8-8806-8435C1A42167}" type="pres">
      <dgm:prSet presAssocID="{2D28A8F9-2DCA-476E-9889-945EE6326815}" presName="linearFlow" presStyleCnt="0">
        <dgm:presLayoutVars>
          <dgm:dir/>
          <dgm:animLvl val="lvl"/>
          <dgm:resizeHandles val="exact"/>
        </dgm:presLayoutVars>
      </dgm:prSet>
      <dgm:spPr/>
    </dgm:pt>
    <dgm:pt modelId="{DB53A998-7386-41B9-96AA-38116706D895}" type="pres">
      <dgm:prSet presAssocID="{1460F9D8-0C44-4566-8327-37E50C6B6962}" presName="composite" presStyleCnt="0"/>
      <dgm:spPr/>
    </dgm:pt>
    <dgm:pt modelId="{8C061F5D-DEF0-482D-A044-E0464EBE0C0E}" type="pres">
      <dgm:prSet presAssocID="{1460F9D8-0C44-4566-8327-37E50C6B6962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0D0BDFD-904C-46B5-BE23-821FCE8FF8BA}" type="pres">
      <dgm:prSet presAssocID="{1460F9D8-0C44-4566-8327-37E50C6B6962}" presName="parSh" presStyleLbl="node1" presStyleIdx="0" presStyleCnt="3"/>
      <dgm:spPr/>
    </dgm:pt>
    <dgm:pt modelId="{D48CEEF8-842E-4FB2-A447-F826C578C57D}" type="pres">
      <dgm:prSet presAssocID="{1460F9D8-0C44-4566-8327-37E50C6B6962}" presName="desTx" presStyleLbl="fgAcc1" presStyleIdx="0" presStyleCnt="3">
        <dgm:presLayoutVars>
          <dgm:bulletEnabled val="1"/>
        </dgm:presLayoutVars>
      </dgm:prSet>
      <dgm:spPr/>
    </dgm:pt>
    <dgm:pt modelId="{27DC536A-B37C-4FBD-83B4-BAC7A15C9426}" type="pres">
      <dgm:prSet presAssocID="{419326F0-5ABD-4883-BDC9-C4CCF45B4D3D}" presName="sibTrans" presStyleLbl="sibTrans2D1" presStyleIdx="0" presStyleCnt="2"/>
      <dgm:spPr/>
    </dgm:pt>
    <dgm:pt modelId="{E909B0E7-913F-433A-9CBC-F1F160D56E3C}" type="pres">
      <dgm:prSet presAssocID="{419326F0-5ABD-4883-BDC9-C4CCF45B4D3D}" presName="connTx" presStyleLbl="sibTrans2D1" presStyleIdx="0" presStyleCnt="2"/>
      <dgm:spPr/>
    </dgm:pt>
    <dgm:pt modelId="{4297ABC9-858A-494A-BF39-B308EAC543AA}" type="pres">
      <dgm:prSet presAssocID="{C0AB9568-3803-49E5-A39C-C2EBD88B431E}" presName="composite" presStyleCnt="0"/>
      <dgm:spPr/>
    </dgm:pt>
    <dgm:pt modelId="{86F7A749-2070-4051-87E8-CF002513A7F0}" type="pres">
      <dgm:prSet presAssocID="{C0AB9568-3803-49E5-A39C-C2EBD88B431E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4472707B-3FE8-4C8E-A1C3-D94023ADDA0E}" type="pres">
      <dgm:prSet presAssocID="{C0AB9568-3803-49E5-A39C-C2EBD88B431E}" presName="parSh" presStyleLbl="node1" presStyleIdx="1" presStyleCnt="3"/>
      <dgm:spPr/>
    </dgm:pt>
    <dgm:pt modelId="{CC0D15AA-4279-4E00-87B5-AB7E21CF0B18}" type="pres">
      <dgm:prSet presAssocID="{C0AB9568-3803-49E5-A39C-C2EBD88B431E}" presName="desTx" presStyleLbl="fgAcc1" presStyleIdx="1" presStyleCnt="3">
        <dgm:presLayoutVars>
          <dgm:bulletEnabled val="1"/>
        </dgm:presLayoutVars>
      </dgm:prSet>
      <dgm:spPr/>
    </dgm:pt>
    <dgm:pt modelId="{C6AC5A7D-5AFF-453F-B6D8-E93AA021F13A}" type="pres">
      <dgm:prSet presAssocID="{EE7F44C6-15B9-4523-99F7-B1BDCA97FCDD}" presName="sibTrans" presStyleLbl="sibTrans2D1" presStyleIdx="1" presStyleCnt="2"/>
      <dgm:spPr/>
    </dgm:pt>
    <dgm:pt modelId="{336630D6-D351-4CAF-BCC6-8394B3355A43}" type="pres">
      <dgm:prSet presAssocID="{EE7F44C6-15B9-4523-99F7-B1BDCA97FCDD}" presName="connTx" presStyleLbl="sibTrans2D1" presStyleIdx="1" presStyleCnt="2"/>
      <dgm:spPr/>
    </dgm:pt>
    <dgm:pt modelId="{EC7DE73C-D9A2-4082-826A-CD14E1C58A0E}" type="pres">
      <dgm:prSet presAssocID="{52F826F8-BCA7-4EDE-8143-6A07245012C0}" presName="composite" presStyleCnt="0"/>
      <dgm:spPr/>
    </dgm:pt>
    <dgm:pt modelId="{1C0B45EC-26E5-497B-B4FE-CAD741AB3058}" type="pres">
      <dgm:prSet presAssocID="{52F826F8-BCA7-4EDE-8143-6A07245012C0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8008792D-C3F1-4E85-BA66-01B6A160BACA}" type="pres">
      <dgm:prSet presAssocID="{52F826F8-BCA7-4EDE-8143-6A07245012C0}" presName="parSh" presStyleLbl="node1" presStyleIdx="2" presStyleCnt="3"/>
      <dgm:spPr/>
    </dgm:pt>
    <dgm:pt modelId="{0FA5A164-6E3A-41D0-8089-408E129188C2}" type="pres">
      <dgm:prSet presAssocID="{52F826F8-BCA7-4EDE-8143-6A07245012C0}" presName="desTx" presStyleLbl="fgAcc1" presStyleIdx="2" presStyleCnt="3">
        <dgm:presLayoutVars>
          <dgm:bulletEnabled val="1"/>
        </dgm:presLayoutVars>
      </dgm:prSet>
      <dgm:spPr/>
    </dgm:pt>
  </dgm:ptLst>
  <dgm:cxnLst>
    <dgm:cxn modelId="{8CA6CB05-138D-4193-8906-1D8A8DAB36D4}" type="presOf" srcId="{EE7F44C6-15B9-4523-99F7-B1BDCA97FCDD}" destId="{336630D6-D351-4CAF-BCC6-8394B3355A43}" srcOrd="1" destOrd="0" presId="urn:microsoft.com/office/officeart/2005/8/layout/process3"/>
    <dgm:cxn modelId="{FD10BE0A-1F63-4FD2-B40B-4F07427DD228}" type="presOf" srcId="{2A8F6678-5FD1-4214-AD17-E6790691F99B}" destId="{CC0D15AA-4279-4E00-87B5-AB7E21CF0B18}" srcOrd="0" destOrd="1" presId="urn:microsoft.com/office/officeart/2005/8/layout/process3"/>
    <dgm:cxn modelId="{04FD1013-BAEE-4882-ABFE-796359A5EB1B}" srcId="{356865CA-F469-45DF-B125-CFD258908E11}" destId="{6708F956-462D-47C3-B4ED-E36732D7D626}" srcOrd="1" destOrd="0" parTransId="{1FB83154-3F85-4E4D-BF71-C5D24E3932DE}" sibTransId="{3BD3F296-190A-4E28-B351-A9B33587E92D}"/>
    <dgm:cxn modelId="{E6117515-96E0-4A23-816B-CA12F5B17EB9}" srcId="{C0AB9568-3803-49E5-A39C-C2EBD88B431E}" destId="{2A8F6678-5FD1-4214-AD17-E6790691F99B}" srcOrd="1" destOrd="0" parTransId="{AB3D70BE-29BF-475D-9951-5F4122B0B106}" sibTransId="{4767E1A6-796F-4C30-9DB8-75EC7A7397CD}"/>
    <dgm:cxn modelId="{F3F8EE17-DE56-4E85-9D3B-740D4551BFFF}" type="presOf" srcId="{1460F9D8-0C44-4566-8327-37E50C6B6962}" destId="{8C061F5D-DEF0-482D-A044-E0464EBE0C0E}" srcOrd="0" destOrd="0" presId="urn:microsoft.com/office/officeart/2005/8/layout/process3"/>
    <dgm:cxn modelId="{5170701F-0BC5-4FF1-A408-EE5E8B676297}" srcId="{52F826F8-BCA7-4EDE-8143-6A07245012C0}" destId="{2B761867-F522-439D-B0B5-44405EF7CF68}" srcOrd="1" destOrd="0" parTransId="{CC0AAD65-AEB8-44E8-860D-BF61DCEBA0DE}" sibTransId="{D0FBE3CF-E340-4E6C-A19E-DF36BA22ABF2}"/>
    <dgm:cxn modelId="{EFA26E25-CB7A-44CA-804D-9815BD201AC8}" type="presOf" srcId="{52F826F8-BCA7-4EDE-8143-6A07245012C0}" destId="{1C0B45EC-26E5-497B-B4FE-CAD741AB3058}" srcOrd="0" destOrd="0" presId="urn:microsoft.com/office/officeart/2005/8/layout/process3"/>
    <dgm:cxn modelId="{63A52D2E-D89D-4ACD-AFFD-1B19936F7E14}" type="presOf" srcId="{51BA1070-2A53-4AB7-B98A-1AB1F818F619}" destId="{0FA5A164-6E3A-41D0-8089-408E129188C2}" srcOrd="0" destOrd="2" presId="urn:microsoft.com/office/officeart/2005/8/layout/process3"/>
    <dgm:cxn modelId="{36E38D35-33F2-49B3-BA7E-EDA198ACB876}" type="presOf" srcId="{419326F0-5ABD-4883-BDC9-C4CCF45B4D3D}" destId="{27DC536A-B37C-4FBD-83B4-BAC7A15C9426}" srcOrd="0" destOrd="0" presId="urn:microsoft.com/office/officeart/2005/8/layout/process3"/>
    <dgm:cxn modelId="{F624773E-3E7A-428C-BC7E-469721CF9E94}" type="presOf" srcId="{2D28A8F9-2DCA-476E-9889-945EE6326815}" destId="{1E5C696B-CD50-45F8-8806-8435C1A42167}" srcOrd="0" destOrd="0" presId="urn:microsoft.com/office/officeart/2005/8/layout/process3"/>
    <dgm:cxn modelId="{CB3D833F-FD5E-447C-B211-09D4DB44824A}" type="presOf" srcId="{5E151434-4A0A-4AE9-8FAB-3FF6DEF2128B}" destId="{CC0D15AA-4279-4E00-87B5-AB7E21CF0B18}" srcOrd="0" destOrd="0" presId="urn:microsoft.com/office/officeart/2005/8/layout/process3"/>
    <dgm:cxn modelId="{D516395C-3A6D-4B8A-A72C-303CC77986FC}" srcId="{2D28A8F9-2DCA-476E-9889-945EE6326815}" destId="{52F826F8-BCA7-4EDE-8143-6A07245012C0}" srcOrd="2" destOrd="0" parTransId="{0D93F39E-15A2-405C-91BD-28548E467163}" sibTransId="{BFD4C19D-F8AB-4C9D-A628-A6F559EBC3AB}"/>
    <dgm:cxn modelId="{B5F2D767-4635-43DE-8608-52776FE18D31}" type="presOf" srcId="{EB466DCA-886C-449E-9DF9-40EB79984C3B}" destId="{0FA5A164-6E3A-41D0-8089-408E129188C2}" srcOrd="0" destOrd="0" presId="urn:microsoft.com/office/officeart/2005/8/layout/process3"/>
    <dgm:cxn modelId="{7F148049-D0EE-48A4-B3D2-84CCB2ADEACD}" type="presOf" srcId="{C0AB9568-3803-49E5-A39C-C2EBD88B431E}" destId="{86F7A749-2070-4051-87E8-CF002513A7F0}" srcOrd="0" destOrd="0" presId="urn:microsoft.com/office/officeart/2005/8/layout/process3"/>
    <dgm:cxn modelId="{BD6F2B71-D95A-4B99-A233-760FDA8D536B}" type="presOf" srcId="{6708F956-462D-47C3-B4ED-E36732D7D626}" destId="{D48CEEF8-842E-4FB2-A447-F826C578C57D}" srcOrd="0" destOrd="2" presId="urn:microsoft.com/office/officeart/2005/8/layout/process3"/>
    <dgm:cxn modelId="{E75A8071-679F-4DD3-AD35-66F8083A8B48}" type="presOf" srcId="{419326F0-5ABD-4883-BDC9-C4CCF45B4D3D}" destId="{E909B0E7-913F-433A-9CBC-F1F160D56E3C}" srcOrd="1" destOrd="0" presId="urn:microsoft.com/office/officeart/2005/8/layout/process3"/>
    <dgm:cxn modelId="{A1C7A784-873D-447C-AB52-336E38978B76}" type="presOf" srcId="{1460F9D8-0C44-4566-8327-37E50C6B6962}" destId="{B0D0BDFD-904C-46B5-BE23-821FCE8FF8BA}" srcOrd="1" destOrd="0" presId="urn:microsoft.com/office/officeart/2005/8/layout/process3"/>
    <dgm:cxn modelId="{F7D88B85-2221-41F1-959A-EEE2880818A5}" type="presOf" srcId="{52F826F8-BCA7-4EDE-8143-6A07245012C0}" destId="{8008792D-C3F1-4E85-BA66-01B6A160BACA}" srcOrd="1" destOrd="0" presId="urn:microsoft.com/office/officeart/2005/8/layout/process3"/>
    <dgm:cxn modelId="{69015387-A16A-4B11-B082-402A7F6C9DE8}" srcId="{1460F9D8-0C44-4566-8327-37E50C6B6962}" destId="{356865CA-F469-45DF-B125-CFD258908E11}" srcOrd="0" destOrd="0" parTransId="{AC3125CB-E329-401F-A8B0-246E6750422C}" sibTransId="{086FFB3D-B9E7-49F4-B7D4-EE599B5F0556}"/>
    <dgm:cxn modelId="{CA86C08E-631B-41BE-A52E-4DB90A390820}" srcId="{2D28A8F9-2DCA-476E-9889-945EE6326815}" destId="{C0AB9568-3803-49E5-A39C-C2EBD88B431E}" srcOrd="1" destOrd="0" parTransId="{1958DF4F-77DB-493D-AF4D-E54BCF7B467A}" sibTransId="{EE7F44C6-15B9-4523-99F7-B1BDCA97FCDD}"/>
    <dgm:cxn modelId="{5A3277A0-6B34-447F-9F5F-7FED7D49E9CC}" srcId="{52F826F8-BCA7-4EDE-8143-6A07245012C0}" destId="{51BA1070-2A53-4AB7-B98A-1AB1F818F619}" srcOrd="2" destOrd="0" parTransId="{57F099DE-F5F8-4076-A530-12D9F1D5C910}" sibTransId="{A248E437-4748-4D40-85B5-3A427982EDA8}"/>
    <dgm:cxn modelId="{AC638CA3-CCA5-41D9-9797-715AB8BF7AEC}" srcId="{356865CA-F469-45DF-B125-CFD258908E11}" destId="{414F5A0E-3BEA-4A1A-9C2F-FCE1E571A85C}" srcOrd="0" destOrd="0" parTransId="{3CE031EE-B5E3-4E49-BA9C-9ED30ACA5E9D}" sibTransId="{D2FF4401-BBC4-4C3F-882D-562C9A007D03}"/>
    <dgm:cxn modelId="{74CD67A4-1AB3-4A7E-9EC8-9BEFF43389E4}" srcId="{52F826F8-BCA7-4EDE-8143-6A07245012C0}" destId="{EB466DCA-886C-449E-9DF9-40EB79984C3B}" srcOrd="0" destOrd="0" parTransId="{38F8A0EF-23AB-4B08-B15A-D60E3735A860}" sibTransId="{FB8544DB-C017-4594-BD37-584BCA758571}"/>
    <dgm:cxn modelId="{AE97B5BB-F0EF-493F-B570-66A2E73DE429}" type="presOf" srcId="{356865CA-F469-45DF-B125-CFD258908E11}" destId="{D48CEEF8-842E-4FB2-A447-F826C578C57D}" srcOrd="0" destOrd="0" presId="urn:microsoft.com/office/officeart/2005/8/layout/process3"/>
    <dgm:cxn modelId="{B6A6B9C1-89D9-4D7B-AAA3-4E53B59AF7A0}" type="presOf" srcId="{2B761867-F522-439D-B0B5-44405EF7CF68}" destId="{0FA5A164-6E3A-41D0-8089-408E129188C2}" srcOrd="0" destOrd="1" presId="urn:microsoft.com/office/officeart/2005/8/layout/process3"/>
    <dgm:cxn modelId="{24A0F1CC-DB0C-48B9-A55B-504DF3CCB17A}" type="presOf" srcId="{414F5A0E-3BEA-4A1A-9C2F-FCE1E571A85C}" destId="{D48CEEF8-842E-4FB2-A447-F826C578C57D}" srcOrd="0" destOrd="1" presId="urn:microsoft.com/office/officeart/2005/8/layout/process3"/>
    <dgm:cxn modelId="{F4ABD9CE-6716-4AB7-B7FB-03196DE84606}" srcId="{2D28A8F9-2DCA-476E-9889-945EE6326815}" destId="{1460F9D8-0C44-4566-8327-37E50C6B6962}" srcOrd="0" destOrd="0" parTransId="{D7A26C22-F70E-454C-B265-38AAAA35388D}" sibTransId="{419326F0-5ABD-4883-BDC9-C4CCF45B4D3D}"/>
    <dgm:cxn modelId="{DCAB48D2-C1C9-4CCE-BB27-B80CDD1E9A29}" type="presOf" srcId="{EE7F44C6-15B9-4523-99F7-B1BDCA97FCDD}" destId="{C6AC5A7D-5AFF-453F-B6D8-E93AA021F13A}" srcOrd="0" destOrd="0" presId="urn:microsoft.com/office/officeart/2005/8/layout/process3"/>
    <dgm:cxn modelId="{C87799E3-E0A9-4ADA-BE2A-9110C05B3A97}" srcId="{C0AB9568-3803-49E5-A39C-C2EBD88B431E}" destId="{5E151434-4A0A-4AE9-8FAB-3FF6DEF2128B}" srcOrd="0" destOrd="0" parTransId="{EAA3F34E-2B38-47E3-AD00-72628F3407C2}" sibTransId="{31BB4A61-0E71-4279-AB41-F1510E6F4A69}"/>
    <dgm:cxn modelId="{66843DF5-C214-4610-BCD0-999E41FEB97F}" type="presOf" srcId="{C0AB9568-3803-49E5-A39C-C2EBD88B431E}" destId="{4472707B-3FE8-4C8E-A1C3-D94023ADDA0E}" srcOrd="1" destOrd="0" presId="urn:microsoft.com/office/officeart/2005/8/layout/process3"/>
    <dgm:cxn modelId="{BBC1DD4C-A189-41D4-806C-7C89B5100BC3}" type="presParOf" srcId="{1E5C696B-CD50-45F8-8806-8435C1A42167}" destId="{DB53A998-7386-41B9-96AA-38116706D895}" srcOrd="0" destOrd="0" presId="urn:microsoft.com/office/officeart/2005/8/layout/process3"/>
    <dgm:cxn modelId="{40027B02-6933-4611-A439-2EAFCBDF241C}" type="presParOf" srcId="{DB53A998-7386-41B9-96AA-38116706D895}" destId="{8C061F5D-DEF0-482D-A044-E0464EBE0C0E}" srcOrd="0" destOrd="0" presId="urn:microsoft.com/office/officeart/2005/8/layout/process3"/>
    <dgm:cxn modelId="{9F89959A-07CA-408A-A475-F7B51C0DD8FF}" type="presParOf" srcId="{DB53A998-7386-41B9-96AA-38116706D895}" destId="{B0D0BDFD-904C-46B5-BE23-821FCE8FF8BA}" srcOrd="1" destOrd="0" presId="urn:microsoft.com/office/officeart/2005/8/layout/process3"/>
    <dgm:cxn modelId="{31690DDE-8519-40B6-8345-F860FA1E7871}" type="presParOf" srcId="{DB53A998-7386-41B9-96AA-38116706D895}" destId="{D48CEEF8-842E-4FB2-A447-F826C578C57D}" srcOrd="2" destOrd="0" presId="urn:microsoft.com/office/officeart/2005/8/layout/process3"/>
    <dgm:cxn modelId="{EBDE44DD-0754-4801-9491-1ABB2263307D}" type="presParOf" srcId="{1E5C696B-CD50-45F8-8806-8435C1A42167}" destId="{27DC536A-B37C-4FBD-83B4-BAC7A15C9426}" srcOrd="1" destOrd="0" presId="urn:microsoft.com/office/officeart/2005/8/layout/process3"/>
    <dgm:cxn modelId="{F1E309FA-E74F-4DC9-A488-F059A11940F5}" type="presParOf" srcId="{27DC536A-B37C-4FBD-83B4-BAC7A15C9426}" destId="{E909B0E7-913F-433A-9CBC-F1F160D56E3C}" srcOrd="0" destOrd="0" presId="urn:microsoft.com/office/officeart/2005/8/layout/process3"/>
    <dgm:cxn modelId="{60D930BB-3EB9-4901-8B19-2402C644497C}" type="presParOf" srcId="{1E5C696B-CD50-45F8-8806-8435C1A42167}" destId="{4297ABC9-858A-494A-BF39-B308EAC543AA}" srcOrd="2" destOrd="0" presId="urn:microsoft.com/office/officeart/2005/8/layout/process3"/>
    <dgm:cxn modelId="{4A74AF52-BD56-4CE1-B09A-1C51DA2344A0}" type="presParOf" srcId="{4297ABC9-858A-494A-BF39-B308EAC543AA}" destId="{86F7A749-2070-4051-87E8-CF002513A7F0}" srcOrd="0" destOrd="0" presId="urn:microsoft.com/office/officeart/2005/8/layout/process3"/>
    <dgm:cxn modelId="{99C6B221-6596-41A1-A56B-815D3007962D}" type="presParOf" srcId="{4297ABC9-858A-494A-BF39-B308EAC543AA}" destId="{4472707B-3FE8-4C8E-A1C3-D94023ADDA0E}" srcOrd="1" destOrd="0" presId="urn:microsoft.com/office/officeart/2005/8/layout/process3"/>
    <dgm:cxn modelId="{350D8E5C-91BE-4E4F-9BDF-CA2AD2EFD183}" type="presParOf" srcId="{4297ABC9-858A-494A-BF39-B308EAC543AA}" destId="{CC0D15AA-4279-4E00-87B5-AB7E21CF0B18}" srcOrd="2" destOrd="0" presId="urn:microsoft.com/office/officeart/2005/8/layout/process3"/>
    <dgm:cxn modelId="{48DAEC16-6FFF-4AEF-ACB0-779145563990}" type="presParOf" srcId="{1E5C696B-CD50-45F8-8806-8435C1A42167}" destId="{C6AC5A7D-5AFF-453F-B6D8-E93AA021F13A}" srcOrd="3" destOrd="0" presId="urn:microsoft.com/office/officeart/2005/8/layout/process3"/>
    <dgm:cxn modelId="{A8F616D3-1DB3-4FF5-BA5F-A27E718CDC2B}" type="presParOf" srcId="{C6AC5A7D-5AFF-453F-B6D8-E93AA021F13A}" destId="{336630D6-D351-4CAF-BCC6-8394B3355A43}" srcOrd="0" destOrd="0" presId="urn:microsoft.com/office/officeart/2005/8/layout/process3"/>
    <dgm:cxn modelId="{6B31CB49-2691-4F90-B2AD-EFD2C6D8F6AC}" type="presParOf" srcId="{1E5C696B-CD50-45F8-8806-8435C1A42167}" destId="{EC7DE73C-D9A2-4082-826A-CD14E1C58A0E}" srcOrd="4" destOrd="0" presId="urn:microsoft.com/office/officeart/2005/8/layout/process3"/>
    <dgm:cxn modelId="{ECACC009-ED45-4AFF-AB54-D2A1D8E19A02}" type="presParOf" srcId="{EC7DE73C-D9A2-4082-826A-CD14E1C58A0E}" destId="{1C0B45EC-26E5-497B-B4FE-CAD741AB3058}" srcOrd="0" destOrd="0" presId="urn:microsoft.com/office/officeart/2005/8/layout/process3"/>
    <dgm:cxn modelId="{64EC5D56-F36D-49CD-AF84-62DA72837D81}" type="presParOf" srcId="{EC7DE73C-D9A2-4082-826A-CD14E1C58A0E}" destId="{8008792D-C3F1-4E85-BA66-01B6A160BACA}" srcOrd="1" destOrd="0" presId="urn:microsoft.com/office/officeart/2005/8/layout/process3"/>
    <dgm:cxn modelId="{32A210DD-2614-409F-AB1D-B9B42925D6B7}" type="presParOf" srcId="{EC7DE73C-D9A2-4082-826A-CD14E1C58A0E}" destId="{0FA5A164-6E3A-41D0-8089-408E129188C2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28A8F9-2DCA-476E-9889-945EE6326815}" type="doc">
      <dgm:prSet loTypeId="urn:microsoft.com/office/officeart/2005/8/layout/process3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pt-BR"/>
        </a:p>
      </dgm:t>
    </dgm:pt>
    <dgm:pt modelId="{1460F9D8-0C44-4566-8327-37E50C6B6962}">
      <dgm:prSet phldrT="[Texto]"/>
      <dgm:spPr/>
      <dgm:t>
        <a:bodyPr/>
        <a:lstStyle/>
        <a:p>
          <a:r>
            <a:rPr lang="pt-BR" dirty="0"/>
            <a:t>1957</a:t>
          </a:r>
        </a:p>
      </dgm:t>
    </dgm:pt>
    <dgm:pt modelId="{D7A26C22-F70E-454C-B265-38AAAA35388D}" type="parTrans" cxnId="{F4ABD9CE-6716-4AB7-B7FB-03196DE84606}">
      <dgm:prSet/>
      <dgm:spPr/>
      <dgm:t>
        <a:bodyPr/>
        <a:lstStyle/>
        <a:p>
          <a:endParaRPr lang="pt-BR"/>
        </a:p>
      </dgm:t>
    </dgm:pt>
    <dgm:pt modelId="{419326F0-5ABD-4883-BDC9-C4CCF45B4D3D}" type="sibTrans" cxnId="{F4ABD9CE-6716-4AB7-B7FB-03196DE84606}">
      <dgm:prSet/>
      <dgm:spPr/>
      <dgm:t>
        <a:bodyPr/>
        <a:lstStyle/>
        <a:p>
          <a:endParaRPr lang="pt-BR"/>
        </a:p>
      </dgm:t>
    </dgm:pt>
    <dgm:pt modelId="{356865CA-F469-45DF-B125-CFD258908E11}">
      <dgm:prSet phldrT="[Texto]"/>
      <dgm:spPr/>
      <dgm:t>
        <a:bodyPr/>
        <a:lstStyle/>
        <a:p>
          <a:r>
            <a:rPr lang="pt-BR" dirty="0" err="1"/>
            <a:t>Neurocomputador</a:t>
          </a:r>
          <a:r>
            <a:rPr lang="pt-BR" dirty="0"/>
            <a:t> Mark I </a:t>
          </a:r>
          <a:r>
            <a:rPr lang="pt-BR" dirty="0" err="1"/>
            <a:t>Perceptron</a:t>
          </a:r>
          <a:r>
            <a:rPr lang="pt-BR" dirty="0"/>
            <a:t> por Frank </a:t>
          </a:r>
          <a:r>
            <a:rPr lang="pt-BR" dirty="0" err="1"/>
            <a:t>Rosenblatt</a:t>
          </a:r>
          <a:r>
            <a:rPr lang="pt-BR" dirty="0"/>
            <a:t> e outros</a:t>
          </a:r>
        </a:p>
      </dgm:t>
    </dgm:pt>
    <dgm:pt modelId="{AC3125CB-E329-401F-A8B0-246E6750422C}" type="parTrans" cxnId="{69015387-A16A-4B11-B082-402A7F6C9DE8}">
      <dgm:prSet/>
      <dgm:spPr/>
      <dgm:t>
        <a:bodyPr/>
        <a:lstStyle/>
        <a:p>
          <a:endParaRPr lang="pt-BR"/>
        </a:p>
      </dgm:t>
    </dgm:pt>
    <dgm:pt modelId="{086FFB3D-B9E7-49F4-B7D4-EE599B5F0556}" type="sibTrans" cxnId="{69015387-A16A-4B11-B082-402A7F6C9DE8}">
      <dgm:prSet/>
      <dgm:spPr/>
      <dgm:t>
        <a:bodyPr/>
        <a:lstStyle/>
        <a:p>
          <a:endParaRPr lang="pt-BR"/>
        </a:p>
      </dgm:t>
    </dgm:pt>
    <dgm:pt modelId="{C0AB9568-3803-49E5-A39C-C2EBD88B431E}">
      <dgm:prSet phldrT="[Texto]"/>
      <dgm:spPr/>
      <dgm:t>
        <a:bodyPr/>
        <a:lstStyle/>
        <a:p>
          <a:r>
            <a:rPr lang="pt-BR" dirty="0"/>
            <a:t>1969</a:t>
          </a:r>
        </a:p>
      </dgm:t>
    </dgm:pt>
    <dgm:pt modelId="{1958DF4F-77DB-493D-AF4D-E54BCF7B467A}" type="parTrans" cxnId="{CA86C08E-631B-41BE-A52E-4DB90A390820}">
      <dgm:prSet/>
      <dgm:spPr/>
      <dgm:t>
        <a:bodyPr/>
        <a:lstStyle/>
        <a:p>
          <a:endParaRPr lang="pt-BR"/>
        </a:p>
      </dgm:t>
    </dgm:pt>
    <dgm:pt modelId="{EE7F44C6-15B9-4523-99F7-B1BDCA97FCDD}" type="sibTrans" cxnId="{CA86C08E-631B-41BE-A52E-4DB90A390820}">
      <dgm:prSet/>
      <dgm:spPr/>
      <dgm:t>
        <a:bodyPr/>
        <a:lstStyle/>
        <a:p>
          <a:endParaRPr lang="pt-BR"/>
        </a:p>
      </dgm:t>
    </dgm:pt>
    <dgm:pt modelId="{5E151434-4A0A-4AE9-8FAB-3FF6DEF2128B}">
      <dgm:prSet phldrT="[Texto]"/>
      <dgm:spPr/>
      <dgm:t>
        <a:bodyPr/>
        <a:lstStyle/>
        <a:p>
          <a:r>
            <a:rPr lang="pt-BR" dirty="0"/>
            <a:t>L.M. </a:t>
          </a:r>
          <a:r>
            <a:rPr lang="pt-BR" dirty="0" err="1"/>
            <a:t>Minsky</a:t>
          </a:r>
          <a:r>
            <a:rPr lang="pt-BR" dirty="0"/>
            <a:t> e S.A. </a:t>
          </a:r>
          <a:r>
            <a:rPr lang="pt-BR" dirty="0" err="1"/>
            <a:t>Papert</a:t>
          </a:r>
          <a:endParaRPr lang="pt-BR" dirty="0"/>
        </a:p>
      </dgm:t>
    </dgm:pt>
    <dgm:pt modelId="{EAA3F34E-2B38-47E3-AD00-72628F3407C2}" type="parTrans" cxnId="{C87799E3-E0A9-4ADA-BE2A-9110C05B3A97}">
      <dgm:prSet/>
      <dgm:spPr/>
      <dgm:t>
        <a:bodyPr/>
        <a:lstStyle/>
        <a:p>
          <a:endParaRPr lang="pt-BR"/>
        </a:p>
      </dgm:t>
    </dgm:pt>
    <dgm:pt modelId="{31BB4A61-0E71-4279-AB41-F1510E6F4A69}" type="sibTrans" cxnId="{C87799E3-E0A9-4ADA-BE2A-9110C05B3A97}">
      <dgm:prSet/>
      <dgm:spPr/>
      <dgm:t>
        <a:bodyPr/>
        <a:lstStyle/>
        <a:p>
          <a:endParaRPr lang="pt-BR"/>
        </a:p>
      </dgm:t>
    </dgm:pt>
    <dgm:pt modelId="{52F826F8-BCA7-4EDE-8143-6A07245012C0}">
      <dgm:prSet phldrT="[Texto]"/>
      <dgm:spPr/>
      <dgm:t>
        <a:bodyPr/>
        <a:lstStyle/>
        <a:p>
          <a:r>
            <a:rPr lang="pt-BR" dirty="0"/>
            <a:t>1982</a:t>
          </a:r>
        </a:p>
      </dgm:t>
    </dgm:pt>
    <dgm:pt modelId="{0D93F39E-15A2-405C-91BD-28548E467163}" type="parTrans" cxnId="{D516395C-3A6D-4B8A-A72C-303CC77986FC}">
      <dgm:prSet/>
      <dgm:spPr/>
      <dgm:t>
        <a:bodyPr/>
        <a:lstStyle/>
        <a:p>
          <a:endParaRPr lang="pt-BR"/>
        </a:p>
      </dgm:t>
    </dgm:pt>
    <dgm:pt modelId="{BFD4C19D-F8AB-4C9D-A628-A6F559EBC3AB}" type="sibTrans" cxnId="{D516395C-3A6D-4B8A-A72C-303CC77986FC}">
      <dgm:prSet/>
      <dgm:spPr/>
      <dgm:t>
        <a:bodyPr/>
        <a:lstStyle/>
        <a:p>
          <a:endParaRPr lang="pt-BR"/>
        </a:p>
      </dgm:t>
    </dgm:pt>
    <dgm:pt modelId="{EB466DCA-886C-449E-9DF9-40EB79984C3B}">
      <dgm:prSet phldrT="[Texto]"/>
      <dgm:spPr/>
      <dgm:t>
        <a:bodyPr/>
        <a:lstStyle/>
        <a:p>
          <a:r>
            <a:rPr lang="pt-BR" dirty="0"/>
            <a:t>Melhor conhecimento da estrutura do cérebro</a:t>
          </a:r>
        </a:p>
      </dgm:t>
    </dgm:pt>
    <dgm:pt modelId="{38F8A0EF-23AB-4B08-B15A-D60E3735A860}" type="parTrans" cxnId="{74CD67A4-1AB3-4A7E-9EC8-9BEFF43389E4}">
      <dgm:prSet/>
      <dgm:spPr/>
      <dgm:t>
        <a:bodyPr/>
        <a:lstStyle/>
        <a:p>
          <a:endParaRPr lang="pt-BR"/>
        </a:p>
      </dgm:t>
    </dgm:pt>
    <dgm:pt modelId="{FB8544DB-C017-4594-BD37-584BCA758571}" type="sibTrans" cxnId="{74CD67A4-1AB3-4A7E-9EC8-9BEFF43389E4}">
      <dgm:prSet/>
      <dgm:spPr/>
      <dgm:t>
        <a:bodyPr/>
        <a:lstStyle/>
        <a:p>
          <a:endParaRPr lang="pt-BR"/>
        </a:p>
      </dgm:t>
    </dgm:pt>
    <dgm:pt modelId="{FE6323D8-DCB8-424B-983F-9AE90FBA1062}">
      <dgm:prSet/>
      <dgm:spPr/>
      <dgm:t>
        <a:bodyPr/>
        <a:lstStyle/>
        <a:p>
          <a:r>
            <a:rPr lang="pt-BR" dirty="0"/>
            <a:t>Primeiro algoritmo para ajustes de pesos</a:t>
          </a:r>
        </a:p>
      </dgm:t>
    </dgm:pt>
    <dgm:pt modelId="{C0349F2A-08F6-4EBE-882D-B02D0EB83226}" type="parTrans" cxnId="{89971366-79E4-4362-9CFA-51CDB7645BCC}">
      <dgm:prSet/>
      <dgm:spPr/>
      <dgm:t>
        <a:bodyPr/>
        <a:lstStyle/>
        <a:p>
          <a:endParaRPr lang="pt-BR"/>
        </a:p>
      </dgm:t>
    </dgm:pt>
    <dgm:pt modelId="{470E489B-6496-47C9-9035-5EF0D9D0B3C5}" type="sibTrans" cxnId="{89971366-79E4-4362-9CFA-51CDB7645BCC}">
      <dgm:prSet/>
      <dgm:spPr/>
      <dgm:t>
        <a:bodyPr/>
        <a:lstStyle/>
        <a:p>
          <a:endParaRPr lang="pt-BR"/>
        </a:p>
      </dgm:t>
    </dgm:pt>
    <dgm:pt modelId="{A895D508-E963-4286-816C-C3FF8306A546}">
      <dgm:prSet/>
      <dgm:spPr/>
      <dgm:t>
        <a:bodyPr/>
        <a:lstStyle/>
        <a:p>
          <a:r>
            <a:rPr lang="pt-BR"/>
            <a:t>Livro “Perceptrons”</a:t>
          </a:r>
          <a:endParaRPr lang="pt-BR" dirty="0"/>
        </a:p>
      </dgm:t>
    </dgm:pt>
    <dgm:pt modelId="{CF07FB76-606C-4320-8596-6A0B4D76C158}" type="parTrans" cxnId="{4A82D91D-92D1-4B81-980B-ED131914C68C}">
      <dgm:prSet/>
      <dgm:spPr/>
      <dgm:t>
        <a:bodyPr/>
        <a:lstStyle/>
        <a:p>
          <a:endParaRPr lang="pt-BR"/>
        </a:p>
      </dgm:t>
    </dgm:pt>
    <dgm:pt modelId="{B69FFF2C-E002-44E3-BFCF-6566FF6988B9}" type="sibTrans" cxnId="{4A82D91D-92D1-4B81-980B-ED131914C68C}">
      <dgm:prSet/>
      <dgm:spPr/>
      <dgm:t>
        <a:bodyPr/>
        <a:lstStyle/>
        <a:p>
          <a:endParaRPr lang="pt-BR"/>
        </a:p>
      </dgm:t>
    </dgm:pt>
    <dgm:pt modelId="{DF6EE7E2-C6B6-4BCE-ACDF-EDDDE20326E2}">
      <dgm:prSet/>
      <dgm:spPr/>
      <dgm:t>
        <a:bodyPr/>
        <a:lstStyle/>
        <a:p>
          <a:r>
            <a:rPr lang="pt-BR" dirty="0"/>
            <a:t>Impossibilidade de se implementar regras lógicas simples</a:t>
          </a:r>
        </a:p>
      </dgm:t>
    </dgm:pt>
    <dgm:pt modelId="{6CE227A6-15C3-42C2-8E0E-F5FE0B24908E}" type="parTrans" cxnId="{6476179A-E029-4CD1-881C-7F11789485CE}">
      <dgm:prSet/>
      <dgm:spPr/>
      <dgm:t>
        <a:bodyPr/>
        <a:lstStyle/>
        <a:p>
          <a:endParaRPr lang="pt-BR"/>
        </a:p>
      </dgm:t>
    </dgm:pt>
    <dgm:pt modelId="{97E6A779-9609-42D4-907C-68B4BF037CB0}" type="sibTrans" cxnId="{6476179A-E029-4CD1-881C-7F11789485CE}">
      <dgm:prSet/>
      <dgm:spPr/>
      <dgm:t>
        <a:bodyPr/>
        <a:lstStyle/>
        <a:p>
          <a:endParaRPr lang="pt-BR"/>
        </a:p>
      </dgm:t>
    </dgm:pt>
    <dgm:pt modelId="{F9502D34-8678-4DD5-8076-B25BBBCE87E4}">
      <dgm:prSet phldrT="[Texto]"/>
      <dgm:spPr/>
      <dgm:t>
        <a:bodyPr/>
        <a:lstStyle/>
        <a:p>
          <a:r>
            <a:rPr lang="pt-BR" dirty="0"/>
            <a:t>Maior poder computacional</a:t>
          </a:r>
        </a:p>
      </dgm:t>
    </dgm:pt>
    <dgm:pt modelId="{B3592EEF-2840-470A-8F4D-B0CD82837E04}" type="parTrans" cxnId="{2F12D769-0C74-4601-AA19-CF0C8DC73E7A}">
      <dgm:prSet/>
      <dgm:spPr/>
      <dgm:t>
        <a:bodyPr/>
        <a:lstStyle/>
        <a:p>
          <a:endParaRPr lang="pt-BR"/>
        </a:p>
      </dgm:t>
    </dgm:pt>
    <dgm:pt modelId="{296A92E4-894A-483D-B5D0-4BD380A1C9E1}" type="sibTrans" cxnId="{2F12D769-0C74-4601-AA19-CF0C8DC73E7A}">
      <dgm:prSet/>
      <dgm:spPr/>
      <dgm:t>
        <a:bodyPr/>
        <a:lstStyle/>
        <a:p>
          <a:endParaRPr lang="pt-BR"/>
        </a:p>
      </dgm:t>
    </dgm:pt>
    <dgm:pt modelId="{C1118159-C854-4687-B50B-143559184B10}">
      <dgm:prSet phldrT="[Texto]"/>
      <dgm:spPr/>
      <dgm:t>
        <a:bodyPr/>
        <a:lstStyle/>
        <a:p>
          <a:r>
            <a:rPr lang="pt-BR" dirty="0"/>
            <a:t>Novos algoritmos de aprendizado</a:t>
          </a:r>
        </a:p>
      </dgm:t>
    </dgm:pt>
    <dgm:pt modelId="{2CAF9C2F-5D26-454C-BABE-423D3A06FA62}" type="parTrans" cxnId="{F3AF0823-2AFE-467E-B6D2-4C9950F652F3}">
      <dgm:prSet/>
      <dgm:spPr/>
      <dgm:t>
        <a:bodyPr/>
        <a:lstStyle/>
        <a:p>
          <a:endParaRPr lang="pt-BR"/>
        </a:p>
      </dgm:t>
    </dgm:pt>
    <dgm:pt modelId="{A45F8ECE-D1C5-401D-8CB5-EF598D24798C}" type="sibTrans" cxnId="{F3AF0823-2AFE-467E-B6D2-4C9950F652F3}">
      <dgm:prSet/>
      <dgm:spPr/>
      <dgm:t>
        <a:bodyPr/>
        <a:lstStyle/>
        <a:p>
          <a:endParaRPr lang="pt-BR"/>
        </a:p>
      </dgm:t>
    </dgm:pt>
    <dgm:pt modelId="{1E5C696B-CD50-45F8-8806-8435C1A42167}" type="pres">
      <dgm:prSet presAssocID="{2D28A8F9-2DCA-476E-9889-945EE6326815}" presName="linearFlow" presStyleCnt="0">
        <dgm:presLayoutVars>
          <dgm:dir/>
          <dgm:animLvl val="lvl"/>
          <dgm:resizeHandles val="exact"/>
        </dgm:presLayoutVars>
      </dgm:prSet>
      <dgm:spPr/>
    </dgm:pt>
    <dgm:pt modelId="{DB53A998-7386-41B9-96AA-38116706D895}" type="pres">
      <dgm:prSet presAssocID="{1460F9D8-0C44-4566-8327-37E50C6B6962}" presName="composite" presStyleCnt="0"/>
      <dgm:spPr/>
    </dgm:pt>
    <dgm:pt modelId="{8C061F5D-DEF0-482D-A044-E0464EBE0C0E}" type="pres">
      <dgm:prSet presAssocID="{1460F9D8-0C44-4566-8327-37E50C6B6962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0D0BDFD-904C-46B5-BE23-821FCE8FF8BA}" type="pres">
      <dgm:prSet presAssocID="{1460F9D8-0C44-4566-8327-37E50C6B6962}" presName="parSh" presStyleLbl="node1" presStyleIdx="0" presStyleCnt="3"/>
      <dgm:spPr/>
    </dgm:pt>
    <dgm:pt modelId="{D48CEEF8-842E-4FB2-A447-F826C578C57D}" type="pres">
      <dgm:prSet presAssocID="{1460F9D8-0C44-4566-8327-37E50C6B6962}" presName="desTx" presStyleLbl="fgAcc1" presStyleIdx="0" presStyleCnt="3">
        <dgm:presLayoutVars>
          <dgm:bulletEnabled val="1"/>
        </dgm:presLayoutVars>
      </dgm:prSet>
      <dgm:spPr/>
    </dgm:pt>
    <dgm:pt modelId="{27DC536A-B37C-4FBD-83B4-BAC7A15C9426}" type="pres">
      <dgm:prSet presAssocID="{419326F0-5ABD-4883-BDC9-C4CCF45B4D3D}" presName="sibTrans" presStyleLbl="sibTrans2D1" presStyleIdx="0" presStyleCnt="2"/>
      <dgm:spPr/>
    </dgm:pt>
    <dgm:pt modelId="{E909B0E7-913F-433A-9CBC-F1F160D56E3C}" type="pres">
      <dgm:prSet presAssocID="{419326F0-5ABD-4883-BDC9-C4CCF45B4D3D}" presName="connTx" presStyleLbl="sibTrans2D1" presStyleIdx="0" presStyleCnt="2"/>
      <dgm:spPr/>
    </dgm:pt>
    <dgm:pt modelId="{4297ABC9-858A-494A-BF39-B308EAC543AA}" type="pres">
      <dgm:prSet presAssocID="{C0AB9568-3803-49E5-A39C-C2EBD88B431E}" presName="composite" presStyleCnt="0"/>
      <dgm:spPr/>
    </dgm:pt>
    <dgm:pt modelId="{86F7A749-2070-4051-87E8-CF002513A7F0}" type="pres">
      <dgm:prSet presAssocID="{C0AB9568-3803-49E5-A39C-C2EBD88B431E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4472707B-3FE8-4C8E-A1C3-D94023ADDA0E}" type="pres">
      <dgm:prSet presAssocID="{C0AB9568-3803-49E5-A39C-C2EBD88B431E}" presName="parSh" presStyleLbl="node1" presStyleIdx="1" presStyleCnt="3"/>
      <dgm:spPr/>
    </dgm:pt>
    <dgm:pt modelId="{CC0D15AA-4279-4E00-87B5-AB7E21CF0B18}" type="pres">
      <dgm:prSet presAssocID="{C0AB9568-3803-49E5-A39C-C2EBD88B431E}" presName="desTx" presStyleLbl="fgAcc1" presStyleIdx="1" presStyleCnt="3">
        <dgm:presLayoutVars>
          <dgm:bulletEnabled val="1"/>
        </dgm:presLayoutVars>
      </dgm:prSet>
      <dgm:spPr/>
    </dgm:pt>
    <dgm:pt modelId="{C6AC5A7D-5AFF-453F-B6D8-E93AA021F13A}" type="pres">
      <dgm:prSet presAssocID="{EE7F44C6-15B9-4523-99F7-B1BDCA97FCDD}" presName="sibTrans" presStyleLbl="sibTrans2D1" presStyleIdx="1" presStyleCnt="2"/>
      <dgm:spPr/>
    </dgm:pt>
    <dgm:pt modelId="{336630D6-D351-4CAF-BCC6-8394B3355A43}" type="pres">
      <dgm:prSet presAssocID="{EE7F44C6-15B9-4523-99F7-B1BDCA97FCDD}" presName="connTx" presStyleLbl="sibTrans2D1" presStyleIdx="1" presStyleCnt="2"/>
      <dgm:spPr/>
    </dgm:pt>
    <dgm:pt modelId="{EC7DE73C-D9A2-4082-826A-CD14E1C58A0E}" type="pres">
      <dgm:prSet presAssocID="{52F826F8-BCA7-4EDE-8143-6A07245012C0}" presName="composite" presStyleCnt="0"/>
      <dgm:spPr/>
    </dgm:pt>
    <dgm:pt modelId="{1C0B45EC-26E5-497B-B4FE-CAD741AB3058}" type="pres">
      <dgm:prSet presAssocID="{52F826F8-BCA7-4EDE-8143-6A07245012C0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8008792D-C3F1-4E85-BA66-01B6A160BACA}" type="pres">
      <dgm:prSet presAssocID="{52F826F8-BCA7-4EDE-8143-6A07245012C0}" presName="parSh" presStyleLbl="node1" presStyleIdx="2" presStyleCnt="3"/>
      <dgm:spPr/>
    </dgm:pt>
    <dgm:pt modelId="{0FA5A164-6E3A-41D0-8089-408E129188C2}" type="pres">
      <dgm:prSet presAssocID="{52F826F8-BCA7-4EDE-8143-6A07245012C0}" presName="desTx" presStyleLbl="fgAcc1" presStyleIdx="2" presStyleCnt="3">
        <dgm:presLayoutVars>
          <dgm:bulletEnabled val="1"/>
        </dgm:presLayoutVars>
      </dgm:prSet>
      <dgm:spPr/>
    </dgm:pt>
  </dgm:ptLst>
  <dgm:cxnLst>
    <dgm:cxn modelId="{8CA6CB05-138D-4193-8906-1D8A8DAB36D4}" type="presOf" srcId="{EE7F44C6-15B9-4523-99F7-B1BDCA97FCDD}" destId="{336630D6-D351-4CAF-BCC6-8394B3355A43}" srcOrd="1" destOrd="0" presId="urn:microsoft.com/office/officeart/2005/8/layout/process3"/>
    <dgm:cxn modelId="{F3F8EE17-DE56-4E85-9D3B-740D4551BFFF}" type="presOf" srcId="{1460F9D8-0C44-4566-8327-37E50C6B6962}" destId="{8C061F5D-DEF0-482D-A044-E0464EBE0C0E}" srcOrd="0" destOrd="0" presId="urn:microsoft.com/office/officeart/2005/8/layout/process3"/>
    <dgm:cxn modelId="{4A82D91D-92D1-4B81-980B-ED131914C68C}" srcId="{C0AB9568-3803-49E5-A39C-C2EBD88B431E}" destId="{A895D508-E963-4286-816C-C3FF8306A546}" srcOrd="1" destOrd="0" parTransId="{CF07FB76-606C-4320-8596-6A0B4D76C158}" sibTransId="{B69FFF2C-E002-44E3-BFCF-6566FF6988B9}"/>
    <dgm:cxn modelId="{F3AF0823-2AFE-467E-B6D2-4C9950F652F3}" srcId="{52F826F8-BCA7-4EDE-8143-6A07245012C0}" destId="{C1118159-C854-4687-B50B-143559184B10}" srcOrd="2" destOrd="0" parTransId="{2CAF9C2F-5D26-454C-BABE-423D3A06FA62}" sibTransId="{A45F8ECE-D1C5-401D-8CB5-EF598D24798C}"/>
    <dgm:cxn modelId="{EFA26E25-CB7A-44CA-804D-9815BD201AC8}" type="presOf" srcId="{52F826F8-BCA7-4EDE-8143-6A07245012C0}" destId="{1C0B45EC-26E5-497B-B4FE-CAD741AB3058}" srcOrd="0" destOrd="0" presId="urn:microsoft.com/office/officeart/2005/8/layout/process3"/>
    <dgm:cxn modelId="{36E38D35-33F2-49B3-BA7E-EDA198ACB876}" type="presOf" srcId="{419326F0-5ABD-4883-BDC9-C4CCF45B4D3D}" destId="{27DC536A-B37C-4FBD-83B4-BAC7A15C9426}" srcOrd="0" destOrd="0" presId="urn:microsoft.com/office/officeart/2005/8/layout/process3"/>
    <dgm:cxn modelId="{FEE78B38-D039-43B7-9EE3-0EB988882576}" type="presOf" srcId="{A895D508-E963-4286-816C-C3FF8306A546}" destId="{CC0D15AA-4279-4E00-87B5-AB7E21CF0B18}" srcOrd="0" destOrd="1" presId="urn:microsoft.com/office/officeart/2005/8/layout/process3"/>
    <dgm:cxn modelId="{F624773E-3E7A-428C-BC7E-469721CF9E94}" type="presOf" srcId="{2D28A8F9-2DCA-476E-9889-945EE6326815}" destId="{1E5C696B-CD50-45F8-8806-8435C1A42167}" srcOrd="0" destOrd="0" presId="urn:microsoft.com/office/officeart/2005/8/layout/process3"/>
    <dgm:cxn modelId="{49412B3F-376E-4CD9-BDD7-F34AF2D2060F}" type="presOf" srcId="{C1118159-C854-4687-B50B-143559184B10}" destId="{0FA5A164-6E3A-41D0-8089-408E129188C2}" srcOrd="0" destOrd="2" presId="urn:microsoft.com/office/officeart/2005/8/layout/process3"/>
    <dgm:cxn modelId="{CB3D833F-FD5E-447C-B211-09D4DB44824A}" type="presOf" srcId="{5E151434-4A0A-4AE9-8FAB-3FF6DEF2128B}" destId="{CC0D15AA-4279-4E00-87B5-AB7E21CF0B18}" srcOrd="0" destOrd="0" presId="urn:microsoft.com/office/officeart/2005/8/layout/process3"/>
    <dgm:cxn modelId="{D516395C-3A6D-4B8A-A72C-303CC77986FC}" srcId="{2D28A8F9-2DCA-476E-9889-945EE6326815}" destId="{52F826F8-BCA7-4EDE-8143-6A07245012C0}" srcOrd="2" destOrd="0" parTransId="{0D93F39E-15A2-405C-91BD-28548E467163}" sibTransId="{BFD4C19D-F8AB-4C9D-A628-A6F559EBC3AB}"/>
    <dgm:cxn modelId="{89971366-79E4-4362-9CFA-51CDB7645BCC}" srcId="{1460F9D8-0C44-4566-8327-37E50C6B6962}" destId="{FE6323D8-DCB8-424B-983F-9AE90FBA1062}" srcOrd="1" destOrd="0" parTransId="{C0349F2A-08F6-4EBE-882D-B02D0EB83226}" sibTransId="{470E489B-6496-47C9-9035-5EF0D9D0B3C5}"/>
    <dgm:cxn modelId="{B5F2D767-4635-43DE-8608-52776FE18D31}" type="presOf" srcId="{EB466DCA-886C-449E-9DF9-40EB79984C3B}" destId="{0FA5A164-6E3A-41D0-8089-408E129188C2}" srcOrd="0" destOrd="0" presId="urn:microsoft.com/office/officeart/2005/8/layout/process3"/>
    <dgm:cxn modelId="{7F148049-D0EE-48A4-B3D2-84CCB2ADEACD}" type="presOf" srcId="{C0AB9568-3803-49E5-A39C-C2EBD88B431E}" destId="{86F7A749-2070-4051-87E8-CF002513A7F0}" srcOrd="0" destOrd="0" presId="urn:microsoft.com/office/officeart/2005/8/layout/process3"/>
    <dgm:cxn modelId="{2F12D769-0C74-4601-AA19-CF0C8DC73E7A}" srcId="{52F826F8-BCA7-4EDE-8143-6A07245012C0}" destId="{F9502D34-8678-4DD5-8076-B25BBBCE87E4}" srcOrd="1" destOrd="0" parTransId="{B3592EEF-2840-470A-8F4D-B0CD82837E04}" sibTransId="{296A92E4-894A-483D-B5D0-4BD380A1C9E1}"/>
    <dgm:cxn modelId="{E75A8071-679F-4DD3-AD35-66F8083A8B48}" type="presOf" srcId="{419326F0-5ABD-4883-BDC9-C4CCF45B4D3D}" destId="{E909B0E7-913F-433A-9CBC-F1F160D56E3C}" srcOrd="1" destOrd="0" presId="urn:microsoft.com/office/officeart/2005/8/layout/process3"/>
    <dgm:cxn modelId="{A1C7A784-873D-447C-AB52-336E38978B76}" type="presOf" srcId="{1460F9D8-0C44-4566-8327-37E50C6B6962}" destId="{B0D0BDFD-904C-46B5-BE23-821FCE8FF8BA}" srcOrd="1" destOrd="0" presId="urn:microsoft.com/office/officeart/2005/8/layout/process3"/>
    <dgm:cxn modelId="{F7D88B85-2221-41F1-959A-EEE2880818A5}" type="presOf" srcId="{52F826F8-BCA7-4EDE-8143-6A07245012C0}" destId="{8008792D-C3F1-4E85-BA66-01B6A160BACA}" srcOrd="1" destOrd="0" presId="urn:microsoft.com/office/officeart/2005/8/layout/process3"/>
    <dgm:cxn modelId="{69015387-A16A-4B11-B082-402A7F6C9DE8}" srcId="{1460F9D8-0C44-4566-8327-37E50C6B6962}" destId="{356865CA-F469-45DF-B125-CFD258908E11}" srcOrd="0" destOrd="0" parTransId="{AC3125CB-E329-401F-A8B0-246E6750422C}" sibTransId="{086FFB3D-B9E7-49F4-B7D4-EE599B5F0556}"/>
    <dgm:cxn modelId="{CA86C08E-631B-41BE-A52E-4DB90A390820}" srcId="{2D28A8F9-2DCA-476E-9889-945EE6326815}" destId="{C0AB9568-3803-49E5-A39C-C2EBD88B431E}" srcOrd="1" destOrd="0" parTransId="{1958DF4F-77DB-493D-AF4D-E54BCF7B467A}" sibTransId="{EE7F44C6-15B9-4523-99F7-B1BDCA97FCDD}"/>
    <dgm:cxn modelId="{E2373A8F-63C3-49E3-9C55-02D937BCB79E}" type="presOf" srcId="{F9502D34-8678-4DD5-8076-B25BBBCE87E4}" destId="{0FA5A164-6E3A-41D0-8089-408E129188C2}" srcOrd="0" destOrd="1" presId="urn:microsoft.com/office/officeart/2005/8/layout/process3"/>
    <dgm:cxn modelId="{6476179A-E029-4CD1-881C-7F11789485CE}" srcId="{C0AB9568-3803-49E5-A39C-C2EBD88B431E}" destId="{DF6EE7E2-C6B6-4BCE-ACDF-EDDDE20326E2}" srcOrd="2" destOrd="0" parTransId="{6CE227A6-15C3-42C2-8E0E-F5FE0B24908E}" sibTransId="{97E6A779-9609-42D4-907C-68B4BF037CB0}"/>
    <dgm:cxn modelId="{74CD67A4-1AB3-4A7E-9EC8-9BEFF43389E4}" srcId="{52F826F8-BCA7-4EDE-8143-6A07245012C0}" destId="{EB466DCA-886C-449E-9DF9-40EB79984C3B}" srcOrd="0" destOrd="0" parTransId="{38F8A0EF-23AB-4B08-B15A-D60E3735A860}" sibTransId="{FB8544DB-C017-4594-BD37-584BCA758571}"/>
    <dgm:cxn modelId="{11EDFCA6-3CE3-4399-8D5B-DD7D1869512F}" type="presOf" srcId="{DF6EE7E2-C6B6-4BCE-ACDF-EDDDE20326E2}" destId="{CC0D15AA-4279-4E00-87B5-AB7E21CF0B18}" srcOrd="0" destOrd="2" presId="urn:microsoft.com/office/officeart/2005/8/layout/process3"/>
    <dgm:cxn modelId="{AE97B5BB-F0EF-493F-B570-66A2E73DE429}" type="presOf" srcId="{356865CA-F469-45DF-B125-CFD258908E11}" destId="{D48CEEF8-842E-4FB2-A447-F826C578C57D}" srcOrd="0" destOrd="0" presId="urn:microsoft.com/office/officeart/2005/8/layout/process3"/>
    <dgm:cxn modelId="{F4ABD9CE-6716-4AB7-B7FB-03196DE84606}" srcId="{2D28A8F9-2DCA-476E-9889-945EE6326815}" destId="{1460F9D8-0C44-4566-8327-37E50C6B6962}" srcOrd="0" destOrd="0" parTransId="{D7A26C22-F70E-454C-B265-38AAAA35388D}" sibTransId="{419326F0-5ABD-4883-BDC9-C4CCF45B4D3D}"/>
    <dgm:cxn modelId="{DCAB48D2-C1C9-4CCE-BB27-B80CDD1E9A29}" type="presOf" srcId="{EE7F44C6-15B9-4523-99F7-B1BDCA97FCDD}" destId="{C6AC5A7D-5AFF-453F-B6D8-E93AA021F13A}" srcOrd="0" destOrd="0" presId="urn:microsoft.com/office/officeart/2005/8/layout/process3"/>
    <dgm:cxn modelId="{AFCBC7E2-5518-45E1-9CBC-B8F5EA2C21B4}" type="presOf" srcId="{FE6323D8-DCB8-424B-983F-9AE90FBA1062}" destId="{D48CEEF8-842E-4FB2-A447-F826C578C57D}" srcOrd="0" destOrd="1" presId="urn:microsoft.com/office/officeart/2005/8/layout/process3"/>
    <dgm:cxn modelId="{C87799E3-E0A9-4ADA-BE2A-9110C05B3A97}" srcId="{C0AB9568-3803-49E5-A39C-C2EBD88B431E}" destId="{5E151434-4A0A-4AE9-8FAB-3FF6DEF2128B}" srcOrd="0" destOrd="0" parTransId="{EAA3F34E-2B38-47E3-AD00-72628F3407C2}" sibTransId="{31BB4A61-0E71-4279-AB41-F1510E6F4A69}"/>
    <dgm:cxn modelId="{66843DF5-C214-4610-BCD0-999E41FEB97F}" type="presOf" srcId="{C0AB9568-3803-49E5-A39C-C2EBD88B431E}" destId="{4472707B-3FE8-4C8E-A1C3-D94023ADDA0E}" srcOrd="1" destOrd="0" presId="urn:microsoft.com/office/officeart/2005/8/layout/process3"/>
    <dgm:cxn modelId="{BBC1DD4C-A189-41D4-806C-7C89B5100BC3}" type="presParOf" srcId="{1E5C696B-CD50-45F8-8806-8435C1A42167}" destId="{DB53A998-7386-41B9-96AA-38116706D895}" srcOrd="0" destOrd="0" presId="urn:microsoft.com/office/officeart/2005/8/layout/process3"/>
    <dgm:cxn modelId="{40027B02-6933-4611-A439-2EAFCBDF241C}" type="presParOf" srcId="{DB53A998-7386-41B9-96AA-38116706D895}" destId="{8C061F5D-DEF0-482D-A044-E0464EBE0C0E}" srcOrd="0" destOrd="0" presId="urn:microsoft.com/office/officeart/2005/8/layout/process3"/>
    <dgm:cxn modelId="{9F89959A-07CA-408A-A475-F7B51C0DD8FF}" type="presParOf" srcId="{DB53A998-7386-41B9-96AA-38116706D895}" destId="{B0D0BDFD-904C-46B5-BE23-821FCE8FF8BA}" srcOrd="1" destOrd="0" presId="urn:microsoft.com/office/officeart/2005/8/layout/process3"/>
    <dgm:cxn modelId="{31690DDE-8519-40B6-8345-F860FA1E7871}" type="presParOf" srcId="{DB53A998-7386-41B9-96AA-38116706D895}" destId="{D48CEEF8-842E-4FB2-A447-F826C578C57D}" srcOrd="2" destOrd="0" presId="urn:microsoft.com/office/officeart/2005/8/layout/process3"/>
    <dgm:cxn modelId="{EBDE44DD-0754-4801-9491-1ABB2263307D}" type="presParOf" srcId="{1E5C696B-CD50-45F8-8806-8435C1A42167}" destId="{27DC536A-B37C-4FBD-83B4-BAC7A15C9426}" srcOrd="1" destOrd="0" presId="urn:microsoft.com/office/officeart/2005/8/layout/process3"/>
    <dgm:cxn modelId="{F1E309FA-E74F-4DC9-A488-F059A11940F5}" type="presParOf" srcId="{27DC536A-B37C-4FBD-83B4-BAC7A15C9426}" destId="{E909B0E7-913F-433A-9CBC-F1F160D56E3C}" srcOrd="0" destOrd="0" presId="urn:microsoft.com/office/officeart/2005/8/layout/process3"/>
    <dgm:cxn modelId="{60D930BB-3EB9-4901-8B19-2402C644497C}" type="presParOf" srcId="{1E5C696B-CD50-45F8-8806-8435C1A42167}" destId="{4297ABC9-858A-494A-BF39-B308EAC543AA}" srcOrd="2" destOrd="0" presId="urn:microsoft.com/office/officeart/2005/8/layout/process3"/>
    <dgm:cxn modelId="{4A74AF52-BD56-4CE1-B09A-1C51DA2344A0}" type="presParOf" srcId="{4297ABC9-858A-494A-BF39-B308EAC543AA}" destId="{86F7A749-2070-4051-87E8-CF002513A7F0}" srcOrd="0" destOrd="0" presId="urn:microsoft.com/office/officeart/2005/8/layout/process3"/>
    <dgm:cxn modelId="{99C6B221-6596-41A1-A56B-815D3007962D}" type="presParOf" srcId="{4297ABC9-858A-494A-BF39-B308EAC543AA}" destId="{4472707B-3FE8-4C8E-A1C3-D94023ADDA0E}" srcOrd="1" destOrd="0" presId="urn:microsoft.com/office/officeart/2005/8/layout/process3"/>
    <dgm:cxn modelId="{350D8E5C-91BE-4E4F-9BDF-CA2AD2EFD183}" type="presParOf" srcId="{4297ABC9-858A-494A-BF39-B308EAC543AA}" destId="{CC0D15AA-4279-4E00-87B5-AB7E21CF0B18}" srcOrd="2" destOrd="0" presId="urn:microsoft.com/office/officeart/2005/8/layout/process3"/>
    <dgm:cxn modelId="{48DAEC16-6FFF-4AEF-ACB0-779145563990}" type="presParOf" srcId="{1E5C696B-CD50-45F8-8806-8435C1A42167}" destId="{C6AC5A7D-5AFF-453F-B6D8-E93AA021F13A}" srcOrd="3" destOrd="0" presId="urn:microsoft.com/office/officeart/2005/8/layout/process3"/>
    <dgm:cxn modelId="{A8F616D3-1DB3-4FF5-BA5F-A27E718CDC2B}" type="presParOf" srcId="{C6AC5A7D-5AFF-453F-B6D8-E93AA021F13A}" destId="{336630D6-D351-4CAF-BCC6-8394B3355A43}" srcOrd="0" destOrd="0" presId="urn:microsoft.com/office/officeart/2005/8/layout/process3"/>
    <dgm:cxn modelId="{6B31CB49-2691-4F90-B2AD-EFD2C6D8F6AC}" type="presParOf" srcId="{1E5C696B-CD50-45F8-8806-8435C1A42167}" destId="{EC7DE73C-D9A2-4082-826A-CD14E1C58A0E}" srcOrd="4" destOrd="0" presId="urn:microsoft.com/office/officeart/2005/8/layout/process3"/>
    <dgm:cxn modelId="{ECACC009-ED45-4AFF-AB54-D2A1D8E19A02}" type="presParOf" srcId="{EC7DE73C-D9A2-4082-826A-CD14E1C58A0E}" destId="{1C0B45EC-26E5-497B-B4FE-CAD741AB3058}" srcOrd="0" destOrd="0" presId="urn:microsoft.com/office/officeart/2005/8/layout/process3"/>
    <dgm:cxn modelId="{64EC5D56-F36D-49CD-AF84-62DA72837D81}" type="presParOf" srcId="{EC7DE73C-D9A2-4082-826A-CD14E1C58A0E}" destId="{8008792D-C3F1-4E85-BA66-01B6A160BACA}" srcOrd="1" destOrd="0" presId="urn:microsoft.com/office/officeart/2005/8/layout/process3"/>
    <dgm:cxn modelId="{32A210DD-2614-409F-AB1D-B9B42925D6B7}" type="presParOf" srcId="{EC7DE73C-D9A2-4082-826A-CD14E1C58A0E}" destId="{0FA5A164-6E3A-41D0-8089-408E129188C2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D0BDFD-904C-46B5-BE23-821FCE8FF8BA}">
      <dsp:nvSpPr>
        <dsp:cNvPr id="0" name=""/>
        <dsp:cNvSpPr/>
      </dsp:nvSpPr>
      <dsp:spPr>
        <a:xfrm>
          <a:off x="4064" y="466629"/>
          <a:ext cx="1848043" cy="64800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kern="1200" dirty="0"/>
            <a:t>1943</a:t>
          </a:r>
        </a:p>
      </dsp:txBody>
      <dsp:txXfrm>
        <a:off x="4064" y="466629"/>
        <a:ext cx="1848043" cy="432000"/>
      </dsp:txXfrm>
    </dsp:sp>
    <dsp:sp modelId="{D48CEEF8-842E-4FB2-A447-F826C578C57D}">
      <dsp:nvSpPr>
        <dsp:cNvPr id="0" name=""/>
        <dsp:cNvSpPr/>
      </dsp:nvSpPr>
      <dsp:spPr>
        <a:xfrm>
          <a:off x="382579" y="898629"/>
          <a:ext cx="1848043" cy="19043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 err="1"/>
            <a:t>McCullock</a:t>
          </a:r>
          <a:r>
            <a:rPr lang="pt-BR" sz="1500" kern="1200" dirty="0"/>
            <a:t> e </a:t>
          </a:r>
          <a:r>
            <a:rPr lang="pt-BR" sz="1500" kern="1200" dirty="0" err="1"/>
            <a:t>Pitts</a:t>
          </a:r>
          <a:endParaRPr lang="pt-BR" sz="1500" kern="1200" dirty="0"/>
        </a:p>
        <a:p>
          <a:pPr marL="228600" lvl="2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/>
            <a:t>Primeira Rede Neural </a:t>
          </a:r>
        </a:p>
        <a:p>
          <a:pPr marL="228600" lvl="2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/>
            <a:t>Neurônio como processamento binário</a:t>
          </a:r>
        </a:p>
      </dsp:txBody>
      <dsp:txXfrm>
        <a:off x="436706" y="952756"/>
        <a:ext cx="1739789" cy="1796089"/>
      </dsp:txXfrm>
    </dsp:sp>
    <dsp:sp modelId="{27DC536A-B37C-4FBD-83B4-BAC7A15C9426}">
      <dsp:nvSpPr>
        <dsp:cNvPr id="0" name=""/>
        <dsp:cNvSpPr/>
      </dsp:nvSpPr>
      <dsp:spPr>
        <a:xfrm>
          <a:off x="2132264" y="452574"/>
          <a:ext cx="593932" cy="4601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200" kern="1200"/>
        </a:p>
      </dsp:txBody>
      <dsp:txXfrm>
        <a:off x="2132264" y="544596"/>
        <a:ext cx="455899" cy="276065"/>
      </dsp:txXfrm>
    </dsp:sp>
    <dsp:sp modelId="{4472707B-3FE8-4C8E-A1C3-D94023ADDA0E}">
      <dsp:nvSpPr>
        <dsp:cNvPr id="0" name=""/>
        <dsp:cNvSpPr/>
      </dsp:nvSpPr>
      <dsp:spPr>
        <a:xfrm>
          <a:off x="2972734" y="466629"/>
          <a:ext cx="1848043" cy="648000"/>
        </a:xfrm>
        <a:prstGeom prst="roundRect">
          <a:avLst>
            <a:gd name="adj" fmla="val 10000"/>
          </a:avLst>
        </a:prstGeom>
        <a:solidFill>
          <a:schemeClr val="accent3">
            <a:hueOff val="1355300"/>
            <a:satOff val="50000"/>
            <a:lumOff val="-73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kern="1200" dirty="0"/>
            <a:t>1948</a:t>
          </a:r>
        </a:p>
      </dsp:txBody>
      <dsp:txXfrm>
        <a:off x="2972734" y="466629"/>
        <a:ext cx="1848043" cy="432000"/>
      </dsp:txXfrm>
    </dsp:sp>
    <dsp:sp modelId="{CC0D15AA-4279-4E00-87B5-AB7E21CF0B18}">
      <dsp:nvSpPr>
        <dsp:cNvPr id="0" name=""/>
        <dsp:cNvSpPr/>
      </dsp:nvSpPr>
      <dsp:spPr>
        <a:xfrm>
          <a:off x="3351249" y="898629"/>
          <a:ext cx="1848043" cy="19043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355300"/>
              <a:satOff val="50000"/>
              <a:lumOff val="-73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/>
            <a:t>N. Wiener</a:t>
          </a:r>
          <a:endParaRPr lang="pt-BR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/>
            <a:t>Conceito de Cibernética</a:t>
          </a:r>
        </a:p>
      </dsp:txBody>
      <dsp:txXfrm>
        <a:off x="3405376" y="952756"/>
        <a:ext cx="1739789" cy="1796089"/>
      </dsp:txXfrm>
    </dsp:sp>
    <dsp:sp modelId="{C6AC5A7D-5AFF-453F-B6D8-E93AA021F13A}">
      <dsp:nvSpPr>
        <dsp:cNvPr id="0" name=""/>
        <dsp:cNvSpPr/>
      </dsp:nvSpPr>
      <dsp:spPr>
        <a:xfrm>
          <a:off x="5100934" y="452574"/>
          <a:ext cx="593932" cy="4601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200" kern="1200"/>
        </a:p>
      </dsp:txBody>
      <dsp:txXfrm>
        <a:off x="5100934" y="544596"/>
        <a:ext cx="455899" cy="276065"/>
      </dsp:txXfrm>
    </dsp:sp>
    <dsp:sp modelId="{8008792D-C3F1-4E85-BA66-01B6A160BACA}">
      <dsp:nvSpPr>
        <dsp:cNvPr id="0" name=""/>
        <dsp:cNvSpPr/>
      </dsp:nvSpPr>
      <dsp:spPr>
        <a:xfrm>
          <a:off x="5941405" y="466629"/>
          <a:ext cx="1848043" cy="648000"/>
        </a:xfrm>
        <a:prstGeom prst="roundRect">
          <a:avLst>
            <a:gd name="adj" fmla="val 10000"/>
          </a:avLst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kern="1200" dirty="0"/>
            <a:t>1949</a:t>
          </a:r>
        </a:p>
      </dsp:txBody>
      <dsp:txXfrm>
        <a:off x="5941405" y="466629"/>
        <a:ext cx="1848043" cy="432000"/>
      </dsp:txXfrm>
    </dsp:sp>
    <dsp:sp modelId="{0FA5A164-6E3A-41D0-8089-408E129188C2}">
      <dsp:nvSpPr>
        <dsp:cNvPr id="0" name=""/>
        <dsp:cNvSpPr/>
      </dsp:nvSpPr>
      <dsp:spPr>
        <a:xfrm>
          <a:off x="6319920" y="898629"/>
          <a:ext cx="1848043" cy="19043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2710599"/>
              <a:satOff val="100000"/>
              <a:lumOff val="-147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/>
            <a:t>Donald O. </a:t>
          </a:r>
          <a:r>
            <a:rPr lang="pt-BR" sz="1500" kern="1200" dirty="0" err="1"/>
            <a:t>Hebb</a:t>
          </a:r>
          <a:endParaRPr lang="pt-BR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/>
            <a:t>Hipótese da alteração da força sináptica no comportamento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/>
            <a:t>Contribui na teoria das RNA</a:t>
          </a:r>
        </a:p>
      </dsp:txBody>
      <dsp:txXfrm>
        <a:off x="6374047" y="952756"/>
        <a:ext cx="1739789" cy="17960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D0BDFD-904C-46B5-BE23-821FCE8FF8BA}">
      <dsp:nvSpPr>
        <dsp:cNvPr id="0" name=""/>
        <dsp:cNvSpPr/>
      </dsp:nvSpPr>
      <dsp:spPr>
        <a:xfrm>
          <a:off x="4064" y="439179"/>
          <a:ext cx="1848043" cy="60480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/>
            <a:t>1957</a:t>
          </a:r>
        </a:p>
      </dsp:txBody>
      <dsp:txXfrm>
        <a:off x="4064" y="439179"/>
        <a:ext cx="1848043" cy="403200"/>
      </dsp:txXfrm>
    </dsp:sp>
    <dsp:sp modelId="{D48CEEF8-842E-4FB2-A447-F826C578C57D}">
      <dsp:nvSpPr>
        <dsp:cNvPr id="0" name=""/>
        <dsp:cNvSpPr/>
      </dsp:nvSpPr>
      <dsp:spPr>
        <a:xfrm>
          <a:off x="382579" y="842379"/>
          <a:ext cx="1848043" cy="19880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 err="1"/>
            <a:t>Neurocomputador</a:t>
          </a:r>
          <a:r>
            <a:rPr lang="pt-BR" sz="1400" kern="1200" dirty="0"/>
            <a:t> Mark I </a:t>
          </a:r>
          <a:r>
            <a:rPr lang="pt-BR" sz="1400" kern="1200" dirty="0" err="1"/>
            <a:t>Perceptron</a:t>
          </a:r>
          <a:r>
            <a:rPr lang="pt-BR" sz="1400" kern="1200" dirty="0"/>
            <a:t> por Frank </a:t>
          </a:r>
          <a:r>
            <a:rPr lang="pt-BR" sz="1400" kern="1200" dirty="0" err="1"/>
            <a:t>Rosenblatt</a:t>
          </a:r>
          <a:r>
            <a:rPr lang="pt-BR" sz="1400" kern="1200" dirty="0"/>
            <a:t> e outro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Primeiro algoritmo para ajustes de pesos</a:t>
          </a:r>
        </a:p>
      </dsp:txBody>
      <dsp:txXfrm>
        <a:off x="436706" y="896506"/>
        <a:ext cx="1739789" cy="1879789"/>
      </dsp:txXfrm>
    </dsp:sp>
    <dsp:sp modelId="{27DC536A-B37C-4FBD-83B4-BAC7A15C9426}">
      <dsp:nvSpPr>
        <dsp:cNvPr id="0" name=""/>
        <dsp:cNvSpPr/>
      </dsp:nvSpPr>
      <dsp:spPr>
        <a:xfrm>
          <a:off x="2132264" y="410724"/>
          <a:ext cx="593932" cy="4601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100" kern="1200"/>
        </a:p>
      </dsp:txBody>
      <dsp:txXfrm>
        <a:off x="2132264" y="502746"/>
        <a:ext cx="455899" cy="276065"/>
      </dsp:txXfrm>
    </dsp:sp>
    <dsp:sp modelId="{4472707B-3FE8-4C8E-A1C3-D94023ADDA0E}">
      <dsp:nvSpPr>
        <dsp:cNvPr id="0" name=""/>
        <dsp:cNvSpPr/>
      </dsp:nvSpPr>
      <dsp:spPr>
        <a:xfrm>
          <a:off x="2972734" y="439179"/>
          <a:ext cx="1848043" cy="604800"/>
        </a:xfrm>
        <a:prstGeom prst="roundRect">
          <a:avLst>
            <a:gd name="adj" fmla="val 1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/>
            <a:t>1969</a:t>
          </a:r>
        </a:p>
      </dsp:txBody>
      <dsp:txXfrm>
        <a:off x="2972734" y="439179"/>
        <a:ext cx="1848043" cy="403200"/>
      </dsp:txXfrm>
    </dsp:sp>
    <dsp:sp modelId="{CC0D15AA-4279-4E00-87B5-AB7E21CF0B18}">
      <dsp:nvSpPr>
        <dsp:cNvPr id="0" name=""/>
        <dsp:cNvSpPr/>
      </dsp:nvSpPr>
      <dsp:spPr>
        <a:xfrm>
          <a:off x="3351249" y="842379"/>
          <a:ext cx="1848043" cy="19880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727682"/>
              <a:satOff val="-41964"/>
              <a:lumOff val="431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L.M. </a:t>
          </a:r>
          <a:r>
            <a:rPr lang="pt-BR" sz="1400" kern="1200" dirty="0" err="1"/>
            <a:t>Minsky</a:t>
          </a:r>
          <a:r>
            <a:rPr lang="pt-BR" sz="1400" kern="1200" dirty="0"/>
            <a:t> e S.A. </a:t>
          </a:r>
          <a:r>
            <a:rPr lang="pt-BR" sz="1400" kern="1200" dirty="0" err="1"/>
            <a:t>Papert</a:t>
          </a:r>
          <a:endParaRPr lang="pt-B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/>
            <a:t>Livro “Perceptrons”</a:t>
          </a:r>
          <a:endParaRPr lang="pt-B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Impossibilidade de se implementar regras lógicas simples</a:t>
          </a:r>
        </a:p>
      </dsp:txBody>
      <dsp:txXfrm>
        <a:off x="3405376" y="896506"/>
        <a:ext cx="1739789" cy="1879789"/>
      </dsp:txXfrm>
    </dsp:sp>
    <dsp:sp modelId="{C6AC5A7D-5AFF-453F-B6D8-E93AA021F13A}">
      <dsp:nvSpPr>
        <dsp:cNvPr id="0" name=""/>
        <dsp:cNvSpPr/>
      </dsp:nvSpPr>
      <dsp:spPr>
        <a:xfrm>
          <a:off x="5100934" y="410724"/>
          <a:ext cx="593932" cy="4601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100" kern="1200"/>
        </a:p>
      </dsp:txBody>
      <dsp:txXfrm>
        <a:off x="5100934" y="502746"/>
        <a:ext cx="455899" cy="276065"/>
      </dsp:txXfrm>
    </dsp:sp>
    <dsp:sp modelId="{8008792D-C3F1-4E85-BA66-01B6A160BACA}">
      <dsp:nvSpPr>
        <dsp:cNvPr id="0" name=""/>
        <dsp:cNvSpPr/>
      </dsp:nvSpPr>
      <dsp:spPr>
        <a:xfrm>
          <a:off x="5941405" y="439179"/>
          <a:ext cx="1848043" cy="604800"/>
        </a:xfrm>
        <a:prstGeom prst="roundRect">
          <a:avLst>
            <a:gd name="adj" fmla="val 1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/>
            <a:t>1982</a:t>
          </a:r>
        </a:p>
      </dsp:txBody>
      <dsp:txXfrm>
        <a:off x="5941405" y="439179"/>
        <a:ext cx="1848043" cy="403200"/>
      </dsp:txXfrm>
    </dsp:sp>
    <dsp:sp modelId="{0FA5A164-6E3A-41D0-8089-408E129188C2}">
      <dsp:nvSpPr>
        <dsp:cNvPr id="0" name=""/>
        <dsp:cNvSpPr/>
      </dsp:nvSpPr>
      <dsp:spPr>
        <a:xfrm>
          <a:off x="6319920" y="842379"/>
          <a:ext cx="1848043" cy="19880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Melhor conhecimento da estrutura do cérebr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Maior poder computacional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Novos algoritmos de aprendizado</a:t>
          </a:r>
        </a:p>
      </dsp:txBody>
      <dsp:txXfrm>
        <a:off x="6374047" y="896506"/>
        <a:ext cx="1739789" cy="18797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19/06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83212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074031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866509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15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22897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55286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60351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837261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59926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68629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944682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43453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6503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39388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82062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5352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89568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11697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92560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45120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04657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99418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91886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771153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129890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6139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3534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4214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85840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317732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97372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Robotica</a:t>
            </a:r>
            <a:r>
              <a:rPr lang="pt-BR" dirty="0"/>
              <a:t>,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1756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19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19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19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19/06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19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19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19/06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19/06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19/06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19/06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19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19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19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19/06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19/06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19/06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19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19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19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av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av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av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ideo" Target="https://www.youtube.com/embed/qTblKJjTadQ?feature=oembed" TargetMode="External"/><Relationship Id="rId5" Type="http://schemas.openxmlformats.org/officeDocument/2006/relationships/image" Target="../media/image16.jpeg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ndo usar uma rede Neural?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6771A878-90BB-1839-D133-A642060046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801" y="1772816"/>
            <a:ext cx="3672408" cy="3672408"/>
          </a:xfrm>
          <a:prstGeom prst="rect">
            <a:avLst/>
          </a:prstGeom>
        </p:spPr>
      </p:pic>
      <p:grpSp>
        <p:nvGrpSpPr>
          <p:cNvPr id="14" name="Agrupar 13">
            <a:extLst>
              <a:ext uri="{FF2B5EF4-FFF2-40B4-BE49-F238E27FC236}">
                <a16:creationId xmlns:a16="http://schemas.microsoft.com/office/drawing/2014/main" id="{E16CEDD4-B891-4374-40A6-1E2CA180AD98}"/>
              </a:ext>
            </a:extLst>
          </p:cNvPr>
          <p:cNvGrpSpPr/>
          <p:nvPr/>
        </p:nvGrpSpPr>
        <p:grpSpPr>
          <a:xfrm>
            <a:off x="3923929" y="1653300"/>
            <a:ext cx="5052847" cy="724163"/>
            <a:chOff x="2581607" y="2426644"/>
            <a:chExt cx="5052847" cy="724163"/>
          </a:xfrm>
        </p:grpSpPr>
        <p:sp>
          <p:nvSpPr>
            <p:cNvPr id="2" name="Arrow: Chevron 2">
              <a:extLst>
                <a:ext uri="{FF2B5EF4-FFF2-40B4-BE49-F238E27FC236}">
                  <a16:creationId xmlns:a16="http://schemas.microsoft.com/office/drawing/2014/main" id="{D5927709-1ABC-464C-BD5D-A9356B57252F}"/>
                </a:ext>
              </a:extLst>
            </p:cNvPr>
            <p:cNvSpPr/>
            <p:nvPr/>
          </p:nvSpPr>
          <p:spPr>
            <a:xfrm flipH="1">
              <a:off x="2581607" y="2426644"/>
              <a:ext cx="1024758" cy="724163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/>
              <a:endParaRPr lang="pt-BR" sz="4000" b="1" dirty="0">
                <a:solidFill>
                  <a:prstClr val="white"/>
                </a:solidFill>
                <a:latin typeface="Gotham HTF"/>
              </a:endParaRPr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id="{C089C587-385C-CEDD-F43B-15C7F97EF5C3}"/>
                </a:ext>
              </a:extLst>
            </p:cNvPr>
            <p:cNvSpPr/>
            <p:nvPr/>
          </p:nvSpPr>
          <p:spPr>
            <a:xfrm flipH="1">
              <a:off x="3413238" y="2426644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600" b="1" dirty="0">
                  <a:solidFill>
                    <a:srgbClr val="4472C4"/>
                  </a:solidFill>
                  <a:latin typeface="Gotham HTF"/>
                </a:rPr>
                <a:t>Quando </a:t>
              </a:r>
              <a:r>
                <a:rPr lang="pt-BR" sz="2000" b="1" dirty="0">
                  <a:solidFill>
                    <a:srgbClr val="4472C4"/>
                  </a:solidFill>
                  <a:latin typeface="Gotham HTF"/>
                </a:rPr>
                <a:t>NÃO</a:t>
              </a:r>
              <a:r>
                <a:rPr lang="pt-BR" sz="1600" b="1" dirty="0">
                  <a:solidFill>
                    <a:srgbClr val="4472C4"/>
                  </a:solidFill>
                  <a:latin typeface="Gotham HTF"/>
                </a:rPr>
                <a:t> existe um algoritmo que modelo o sistema ou o problema em questão.</a:t>
              </a:r>
              <a:r>
                <a:rPr lang="pt-BR" sz="1600" dirty="0">
                  <a:solidFill>
                    <a:prstClr val="black"/>
                  </a:solidFill>
                  <a:latin typeface="Gotham HTF"/>
                </a:rPr>
                <a:t> </a:t>
              </a: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6F4D6200-F691-38A1-8E15-C620917A0597}"/>
              </a:ext>
            </a:extLst>
          </p:cNvPr>
          <p:cNvGrpSpPr/>
          <p:nvPr/>
        </p:nvGrpSpPr>
        <p:grpSpPr>
          <a:xfrm>
            <a:off x="3923929" y="3223185"/>
            <a:ext cx="5052847" cy="724163"/>
            <a:chOff x="3277259" y="3346233"/>
            <a:chExt cx="5052847" cy="724163"/>
          </a:xfrm>
        </p:grpSpPr>
        <p:sp>
          <p:nvSpPr>
            <p:cNvPr id="6" name="Arrow: Chevron 4">
              <a:extLst>
                <a:ext uri="{FF2B5EF4-FFF2-40B4-BE49-F238E27FC236}">
                  <a16:creationId xmlns:a16="http://schemas.microsoft.com/office/drawing/2014/main" id="{61C718DF-1198-F015-9614-BE68906D6E27}"/>
                </a:ext>
              </a:extLst>
            </p:cNvPr>
            <p:cNvSpPr/>
            <p:nvPr/>
          </p:nvSpPr>
          <p:spPr>
            <a:xfrm flipH="1">
              <a:off x="3277259" y="3346233"/>
              <a:ext cx="1024758" cy="724163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60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7" name="Freeform: Shape 5">
              <a:extLst>
                <a:ext uri="{FF2B5EF4-FFF2-40B4-BE49-F238E27FC236}">
                  <a16:creationId xmlns:a16="http://schemas.microsoft.com/office/drawing/2014/main" id="{EEF565DF-2224-A857-2AC6-B39F83D271F7}"/>
                </a:ext>
              </a:extLst>
            </p:cNvPr>
            <p:cNvSpPr/>
            <p:nvPr/>
          </p:nvSpPr>
          <p:spPr>
            <a:xfrm flipH="1">
              <a:off x="4108890" y="3346233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600" b="1" dirty="0">
                  <a:solidFill>
                    <a:srgbClr val="ED7D31"/>
                  </a:solidFill>
                  <a:latin typeface="Gotham HTF"/>
                </a:rPr>
                <a:t>Quando existem </a:t>
              </a:r>
              <a:r>
                <a:rPr lang="pt-BR" sz="2000" b="1" dirty="0">
                  <a:solidFill>
                    <a:srgbClr val="ED7D31"/>
                  </a:solidFill>
                  <a:latin typeface="Gotham HTF"/>
                </a:rPr>
                <a:t>MUITOS</a:t>
              </a:r>
              <a:r>
                <a:rPr lang="pt-BR" sz="1600" b="1" dirty="0">
                  <a:solidFill>
                    <a:srgbClr val="ED7D31"/>
                  </a:solidFill>
                  <a:latin typeface="Gotham HTF"/>
                </a:rPr>
                <a:t> dados para serem analisados</a:t>
              </a:r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2E3636DD-1A5D-C101-624C-6B71B1970A7F}"/>
              </a:ext>
            </a:extLst>
          </p:cNvPr>
          <p:cNvGrpSpPr/>
          <p:nvPr/>
        </p:nvGrpSpPr>
        <p:grpSpPr>
          <a:xfrm>
            <a:off x="3923928" y="4793069"/>
            <a:ext cx="5052848" cy="724163"/>
            <a:chOff x="3972911" y="4265821"/>
            <a:chExt cx="5052848" cy="724163"/>
          </a:xfrm>
        </p:grpSpPr>
        <p:sp>
          <p:nvSpPr>
            <p:cNvPr id="8" name="Arrow: Chevron 6">
              <a:extLst>
                <a:ext uri="{FF2B5EF4-FFF2-40B4-BE49-F238E27FC236}">
                  <a16:creationId xmlns:a16="http://schemas.microsoft.com/office/drawing/2014/main" id="{EEC64DE5-50AB-D9F6-6641-7D8205DA9337}"/>
                </a:ext>
              </a:extLst>
            </p:cNvPr>
            <p:cNvSpPr/>
            <p:nvPr/>
          </p:nvSpPr>
          <p:spPr>
            <a:xfrm flipH="1">
              <a:off x="3972911" y="4265821"/>
              <a:ext cx="1024758" cy="724163"/>
            </a:xfrm>
            <a:prstGeom prst="chevron">
              <a:avLst/>
            </a:prstGeom>
            <a:solidFill>
              <a:srgbClr val="ED14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600" dirty="0">
                <a:solidFill>
                  <a:prstClr val="black"/>
                </a:solidFill>
                <a:latin typeface="Gotham HTF"/>
              </a:endParaRPr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54BCC851-1AA9-DD96-647F-B3C61ACC8046}"/>
                </a:ext>
              </a:extLst>
            </p:cNvPr>
            <p:cNvSpPr/>
            <p:nvPr/>
          </p:nvSpPr>
          <p:spPr>
            <a:xfrm flipH="1">
              <a:off x="4804543" y="4265821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600" b="1" dirty="0">
                  <a:solidFill>
                    <a:srgbClr val="ED265B"/>
                  </a:solidFill>
                  <a:latin typeface="Gotham HTF"/>
                </a:rPr>
                <a:t>Quando o seu problema é considerado </a:t>
              </a:r>
              <a:r>
                <a:rPr lang="pt-BR" sz="2000" b="1" dirty="0">
                  <a:solidFill>
                    <a:srgbClr val="ED265B"/>
                  </a:solidFill>
                  <a:latin typeface="Gotham HTF"/>
                </a:rPr>
                <a:t>COMPLEXO</a:t>
              </a:r>
              <a:endParaRPr lang="pt-BR" sz="1600" b="1" dirty="0">
                <a:solidFill>
                  <a:srgbClr val="ED265B"/>
                </a:solidFill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6735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uma Rede Neural Artificial Funciona?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5B28527-767A-F80A-B02F-BBF1052D7C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056" y="2193875"/>
            <a:ext cx="5487888" cy="3709740"/>
          </a:xfrm>
          <a:prstGeom prst="rect">
            <a:avLst/>
          </a:prstGeom>
        </p:spPr>
      </p:pic>
      <p:sp>
        <p:nvSpPr>
          <p:cNvPr id="6" name="Balão de Fala: Retângulo 5">
            <a:extLst>
              <a:ext uri="{FF2B5EF4-FFF2-40B4-BE49-F238E27FC236}">
                <a16:creationId xmlns:a16="http://schemas.microsoft.com/office/drawing/2014/main" id="{33D7D557-DA52-6DFA-196C-47B0543CD00A}"/>
              </a:ext>
            </a:extLst>
          </p:cNvPr>
          <p:cNvSpPr/>
          <p:nvPr/>
        </p:nvSpPr>
        <p:spPr>
          <a:xfrm>
            <a:off x="395536" y="1772816"/>
            <a:ext cx="1800200" cy="1080120"/>
          </a:xfrm>
          <a:prstGeom prst="wedgeRectCallout">
            <a:avLst>
              <a:gd name="adj1" fmla="val 52147"/>
              <a:gd name="adj2" fmla="val 90719"/>
            </a:avLst>
          </a:prstGeom>
          <a:solidFill>
            <a:srgbClr val="ED26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(</a:t>
            </a:r>
            <a:r>
              <a:rPr lang="pt-BR" b="1" dirty="0" err="1"/>
              <a:t>Dentritos</a:t>
            </a:r>
            <a:r>
              <a:rPr lang="pt-BR" dirty="0"/>
              <a:t>) Entradas para outros neurônicos</a:t>
            </a:r>
          </a:p>
        </p:txBody>
      </p:sp>
      <p:sp>
        <p:nvSpPr>
          <p:cNvPr id="7" name="Balão de Fala: Retângulo 6">
            <a:extLst>
              <a:ext uri="{FF2B5EF4-FFF2-40B4-BE49-F238E27FC236}">
                <a16:creationId xmlns:a16="http://schemas.microsoft.com/office/drawing/2014/main" id="{356D4572-E3B9-210D-4A65-D03339B5B851}"/>
              </a:ext>
            </a:extLst>
          </p:cNvPr>
          <p:cNvSpPr/>
          <p:nvPr/>
        </p:nvSpPr>
        <p:spPr>
          <a:xfrm>
            <a:off x="755576" y="4941168"/>
            <a:ext cx="1800200" cy="1080120"/>
          </a:xfrm>
          <a:prstGeom prst="wedgeRectCallout">
            <a:avLst>
              <a:gd name="adj1" fmla="val 88929"/>
              <a:gd name="adj2" fmla="val -152549"/>
            </a:avLst>
          </a:prstGeom>
          <a:solidFill>
            <a:srgbClr val="ED26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rpo celular</a:t>
            </a:r>
          </a:p>
        </p:txBody>
      </p:sp>
      <p:sp>
        <p:nvSpPr>
          <p:cNvPr id="8" name="Balão de Fala: Retângulo 7">
            <a:extLst>
              <a:ext uri="{FF2B5EF4-FFF2-40B4-BE49-F238E27FC236}">
                <a16:creationId xmlns:a16="http://schemas.microsoft.com/office/drawing/2014/main" id="{69AD429E-1A4D-0611-5A41-447C2065B4F9}"/>
              </a:ext>
            </a:extLst>
          </p:cNvPr>
          <p:cNvSpPr/>
          <p:nvPr/>
        </p:nvSpPr>
        <p:spPr>
          <a:xfrm>
            <a:off x="3088196" y="5560581"/>
            <a:ext cx="1800200" cy="1080120"/>
          </a:xfrm>
          <a:prstGeom prst="wedgeRectCallout">
            <a:avLst>
              <a:gd name="adj1" fmla="val 41054"/>
              <a:gd name="adj2" fmla="val -146711"/>
            </a:avLst>
          </a:prstGeom>
          <a:solidFill>
            <a:srgbClr val="ED26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Axônio</a:t>
            </a:r>
          </a:p>
        </p:txBody>
      </p:sp>
      <p:sp>
        <p:nvSpPr>
          <p:cNvPr id="10" name="Balão de Fala: Retângulo 9">
            <a:extLst>
              <a:ext uri="{FF2B5EF4-FFF2-40B4-BE49-F238E27FC236}">
                <a16:creationId xmlns:a16="http://schemas.microsoft.com/office/drawing/2014/main" id="{31C669BB-298F-B996-6065-BC02F5B4210D}"/>
              </a:ext>
            </a:extLst>
          </p:cNvPr>
          <p:cNvSpPr/>
          <p:nvPr/>
        </p:nvSpPr>
        <p:spPr>
          <a:xfrm>
            <a:off x="6948264" y="2851311"/>
            <a:ext cx="1800200" cy="1080120"/>
          </a:xfrm>
          <a:prstGeom prst="wedgeRectCallout">
            <a:avLst>
              <a:gd name="adj1" fmla="val -41268"/>
              <a:gd name="adj2" fmla="val 105315"/>
            </a:avLst>
          </a:prstGeom>
          <a:solidFill>
            <a:srgbClr val="ED26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Saída para outros neurônios</a:t>
            </a:r>
          </a:p>
        </p:txBody>
      </p:sp>
      <p:cxnSp>
        <p:nvCxnSpPr>
          <p:cNvPr id="12" name="Conector de Seta Reta 11">
            <a:extLst>
              <a:ext uri="{FF2B5EF4-FFF2-40B4-BE49-F238E27FC236}">
                <a16:creationId xmlns:a16="http://schemas.microsoft.com/office/drawing/2014/main" id="{E77004B7-92F7-85C2-18A8-97B1370B64FB}"/>
              </a:ext>
            </a:extLst>
          </p:cNvPr>
          <p:cNvCxnSpPr>
            <a:cxnSpLocks/>
          </p:cNvCxnSpPr>
          <p:nvPr/>
        </p:nvCxnSpPr>
        <p:spPr>
          <a:xfrm>
            <a:off x="4788024" y="3717032"/>
            <a:ext cx="1368152" cy="79208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alão de Fala: Retângulo 13">
            <a:extLst>
              <a:ext uri="{FF2B5EF4-FFF2-40B4-BE49-F238E27FC236}">
                <a16:creationId xmlns:a16="http://schemas.microsoft.com/office/drawing/2014/main" id="{A5001C8F-AD62-CE88-AD1D-5334EB6D1FC7}"/>
              </a:ext>
            </a:extLst>
          </p:cNvPr>
          <p:cNvSpPr/>
          <p:nvPr/>
        </p:nvSpPr>
        <p:spPr>
          <a:xfrm>
            <a:off x="4888396" y="1113755"/>
            <a:ext cx="1800200" cy="1080120"/>
          </a:xfrm>
          <a:prstGeom prst="wedgeRectCallout">
            <a:avLst>
              <a:gd name="adj1" fmla="val -34262"/>
              <a:gd name="adj2" fmla="val 183161"/>
            </a:avLst>
          </a:prstGeom>
          <a:solidFill>
            <a:srgbClr val="ED265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Sentido de propagação do sinal</a:t>
            </a:r>
          </a:p>
        </p:txBody>
      </p:sp>
    </p:spTree>
    <p:extLst>
      <p:ext uri="{BB962C8B-B14F-4D97-AF65-F5344CB8AC3E}">
        <p14:creationId xmlns:p14="http://schemas.microsoft.com/office/powerpoint/2010/main" val="4058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0" grpId="0" animBg="1"/>
      <p:bldP spid="1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mo uma Rede Neural Artificial Funciona?</a:t>
            </a: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B4E8A8C4-1C5A-C16E-7614-79AFB8DEE284}"/>
              </a:ext>
            </a:extLst>
          </p:cNvPr>
          <p:cNvSpPr/>
          <p:nvPr/>
        </p:nvSpPr>
        <p:spPr>
          <a:xfrm>
            <a:off x="2195736" y="3140968"/>
            <a:ext cx="2160240" cy="216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500" dirty="0"/>
              <a:t>Ʃ</a:t>
            </a:r>
          </a:p>
        </p:txBody>
      </p:sp>
      <p:cxnSp>
        <p:nvCxnSpPr>
          <p:cNvPr id="3" name="Conector de Seta Reta 2">
            <a:extLst>
              <a:ext uri="{FF2B5EF4-FFF2-40B4-BE49-F238E27FC236}">
                <a16:creationId xmlns:a16="http://schemas.microsoft.com/office/drawing/2014/main" id="{62077998-99CD-CAD3-7DB5-64262CBF1233}"/>
              </a:ext>
            </a:extLst>
          </p:cNvPr>
          <p:cNvCxnSpPr>
            <a:cxnSpLocks/>
            <a:endCxn id="2" idx="2"/>
          </p:cNvCxnSpPr>
          <p:nvPr/>
        </p:nvCxnSpPr>
        <p:spPr>
          <a:xfrm>
            <a:off x="611560" y="4220968"/>
            <a:ext cx="158417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31FA26A8-E87B-CD08-F5FD-DCA186723949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1475656" y="4984643"/>
            <a:ext cx="1036440" cy="1036525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de Seta Reta 18">
            <a:extLst>
              <a:ext uri="{FF2B5EF4-FFF2-40B4-BE49-F238E27FC236}">
                <a16:creationId xmlns:a16="http://schemas.microsoft.com/office/drawing/2014/main" id="{D695F2BE-72F3-A795-3C71-3CF123D0E414}"/>
              </a:ext>
            </a:extLst>
          </p:cNvPr>
          <p:cNvCxnSpPr>
            <a:cxnSpLocks/>
            <a:endCxn id="2" idx="1"/>
          </p:cNvCxnSpPr>
          <p:nvPr/>
        </p:nvCxnSpPr>
        <p:spPr>
          <a:xfrm>
            <a:off x="961628" y="2636792"/>
            <a:ext cx="1550468" cy="820501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de Seta Reta 21">
            <a:extLst>
              <a:ext uri="{FF2B5EF4-FFF2-40B4-BE49-F238E27FC236}">
                <a16:creationId xmlns:a16="http://schemas.microsoft.com/office/drawing/2014/main" id="{DAD2F0A3-2D7D-5FCF-79ED-C7850F3685D1}"/>
              </a:ext>
            </a:extLst>
          </p:cNvPr>
          <p:cNvCxnSpPr>
            <a:cxnSpLocks/>
            <a:stCxn id="2" idx="6"/>
            <a:endCxn id="25" idx="1"/>
          </p:cNvCxnSpPr>
          <p:nvPr/>
        </p:nvCxnSpPr>
        <p:spPr>
          <a:xfrm>
            <a:off x="4355976" y="4220968"/>
            <a:ext cx="111614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ângulo 24">
            <a:extLst>
              <a:ext uri="{FF2B5EF4-FFF2-40B4-BE49-F238E27FC236}">
                <a16:creationId xmlns:a16="http://schemas.microsoft.com/office/drawing/2014/main" id="{3F28F331-F820-00ED-5D57-529F719C0B1F}"/>
              </a:ext>
            </a:extLst>
          </p:cNvPr>
          <p:cNvSpPr/>
          <p:nvPr/>
        </p:nvSpPr>
        <p:spPr>
          <a:xfrm>
            <a:off x="5472122" y="3716912"/>
            <a:ext cx="1944216" cy="1008112"/>
          </a:xfrm>
          <a:prstGeom prst="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/>
              <a:t>f(</a:t>
            </a:r>
            <a:r>
              <a:rPr lang="pt-BR" sz="3200" dirty="0" err="1"/>
              <a:t>u+b</a:t>
            </a:r>
            <a:r>
              <a:rPr lang="pt-BR" sz="3200" dirty="0"/>
              <a:t>)</a:t>
            </a:r>
          </a:p>
        </p:txBody>
      </p:sp>
      <p:cxnSp>
        <p:nvCxnSpPr>
          <p:cNvPr id="28" name="Conector de Seta Reta 27">
            <a:extLst>
              <a:ext uri="{FF2B5EF4-FFF2-40B4-BE49-F238E27FC236}">
                <a16:creationId xmlns:a16="http://schemas.microsoft.com/office/drawing/2014/main" id="{8CFDBB4A-522D-256F-0F6F-9C73B62AE3E4}"/>
              </a:ext>
            </a:extLst>
          </p:cNvPr>
          <p:cNvCxnSpPr>
            <a:cxnSpLocks/>
            <a:stCxn id="25" idx="3"/>
          </p:cNvCxnSpPr>
          <p:nvPr/>
        </p:nvCxnSpPr>
        <p:spPr>
          <a:xfrm>
            <a:off x="7416338" y="4220968"/>
            <a:ext cx="1044094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6E610F75-C287-6870-A515-8818E4F12243}"/>
              </a:ext>
            </a:extLst>
          </p:cNvPr>
          <p:cNvSpPr txBox="1"/>
          <p:nvPr/>
        </p:nvSpPr>
        <p:spPr>
          <a:xfrm>
            <a:off x="476672" y="2380818"/>
            <a:ext cx="5669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Gotham HTF Light"/>
                <a:cs typeface="Gotham HTF Light"/>
              </a:rPr>
              <a:t>In1</a:t>
            </a:r>
            <a:endParaRPr lang="pt-BR" sz="2000" dirty="0"/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D4F7F6C9-C4D7-EA8E-8ABC-AA412C805A94}"/>
              </a:ext>
            </a:extLst>
          </p:cNvPr>
          <p:cNvSpPr txBox="1"/>
          <p:nvPr/>
        </p:nvSpPr>
        <p:spPr>
          <a:xfrm>
            <a:off x="107504" y="4005064"/>
            <a:ext cx="5669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Gotham HTF Light"/>
                <a:cs typeface="Gotham HTF Light"/>
              </a:rPr>
              <a:t>In2</a:t>
            </a:r>
            <a:endParaRPr lang="pt-BR" sz="2000" dirty="0"/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940B20FD-3FA3-60F1-4130-EACA7A974DAE}"/>
              </a:ext>
            </a:extLst>
          </p:cNvPr>
          <p:cNvSpPr txBox="1"/>
          <p:nvPr/>
        </p:nvSpPr>
        <p:spPr>
          <a:xfrm>
            <a:off x="1052736" y="5939988"/>
            <a:ext cx="5669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Gotham HTF Light"/>
                <a:cs typeface="Gotham HTF Light"/>
              </a:rPr>
              <a:t>In3</a:t>
            </a:r>
            <a:endParaRPr lang="pt-BR" sz="2000" dirty="0"/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A3B43523-7CA6-F59E-6664-1DCC2848CEDC}"/>
              </a:ext>
            </a:extLst>
          </p:cNvPr>
          <p:cNvSpPr txBox="1"/>
          <p:nvPr/>
        </p:nvSpPr>
        <p:spPr>
          <a:xfrm>
            <a:off x="1844824" y="2740858"/>
            <a:ext cx="5669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Gotham HTF Light"/>
                <a:cs typeface="Gotham HTF Light"/>
              </a:rPr>
              <a:t>w1</a:t>
            </a:r>
            <a:endParaRPr lang="pt-BR" sz="2000" dirty="0"/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3D2C0CFE-8714-645C-C850-C4BC8CEAF006}"/>
              </a:ext>
            </a:extLst>
          </p:cNvPr>
          <p:cNvSpPr txBox="1"/>
          <p:nvPr/>
        </p:nvSpPr>
        <p:spPr>
          <a:xfrm>
            <a:off x="1412776" y="3861048"/>
            <a:ext cx="5669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Gotham HTF Light"/>
                <a:cs typeface="Gotham HTF Light"/>
              </a:rPr>
              <a:t>w2</a:t>
            </a:r>
            <a:endParaRPr lang="pt-BR" sz="2000" dirty="0"/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6F1C3321-F666-4C76-F221-63CF6003B88F}"/>
              </a:ext>
            </a:extLst>
          </p:cNvPr>
          <p:cNvSpPr txBox="1"/>
          <p:nvPr/>
        </p:nvSpPr>
        <p:spPr>
          <a:xfrm>
            <a:off x="1700808" y="5045114"/>
            <a:ext cx="5669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Gotham HTF Light"/>
                <a:cs typeface="Gotham HTF Light"/>
              </a:rPr>
              <a:t>w3</a:t>
            </a:r>
            <a:endParaRPr lang="pt-BR" sz="2000" dirty="0"/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7FA276B9-8730-D727-57A9-4EB9A57E4624}"/>
              </a:ext>
            </a:extLst>
          </p:cNvPr>
          <p:cNvSpPr txBox="1"/>
          <p:nvPr/>
        </p:nvSpPr>
        <p:spPr>
          <a:xfrm>
            <a:off x="4797152" y="3820978"/>
            <a:ext cx="5669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Gotham HTF Light"/>
              </a:rPr>
              <a:t>u</a:t>
            </a:r>
            <a:endParaRPr lang="pt-BR" sz="2000" dirty="0"/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E824FB55-628A-CEF9-FB03-9F763482BD3C}"/>
              </a:ext>
            </a:extLst>
          </p:cNvPr>
          <p:cNvSpPr txBox="1"/>
          <p:nvPr/>
        </p:nvSpPr>
        <p:spPr>
          <a:xfrm>
            <a:off x="8541568" y="4037002"/>
            <a:ext cx="6024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Gotham HTF Light"/>
              </a:rPr>
              <a:t>Out</a:t>
            </a:r>
            <a:endParaRPr lang="pt-BR" sz="2000" dirty="0"/>
          </a:p>
        </p:txBody>
      </p:sp>
      <p:cxnSp>
        <p:nvCxnSpPr>
          <p:cNvPr id="40" name="Conector de Seta Reta 39">
            <a:extLst>
              <a:ext uri="{FF2B5EF4-FFF2-40B4-BE49-F238E27FC236}">
                <a16:creationId xmlns:a16="http://schemas.microsoft.com/office/drawing/2014/main" id="{3ADD45EB-BAF6-BAA7-C355-2D7C4CD136DF}"/>
              </a:ext>
            </a:extLst>
          </p:cNvPr>
          <p:cNvCxnSpPr>
            <a:cxnSpLocks/>
            <a:endCxn id="25" idx="2"/>
          </p:cNvCxnSpPr>
          <p:nvPr/>
        </p:nvCxnSpPr>
        <p:spPr>
          <a:xfrm flipV="1">
            <a:off x="6444230" y="4725024"/>
            <a:ext cx="0" cy="1214964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08BE6C9A-4EE7-4477-5904-D5A15E3955B9}"/>
              </a:ext>
            </a:extLst>
          </p:cNvPr>
          <p:cNvSpPr txBox="1"/>
          <p:nvPr/>
        </p:nvSpPr>
        <p:spPr>
          <a:xfrm>
            <a:off x="6309320" y="5949280"/>
            <a:ext cx="5669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Gotham HTF Light"/>
              </a:rPr>
              <a:t>b</a:t>
            </a:r>
            <a:endParaRPr lang="pt-BR" sz="2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Retângulo 43">
                <a:extLst>
                  <a:ext uri="{FF2B5EF4-FFF2-40B4-BE49-F238E27FC236}">
                    <a16:creationId xmlns:a16="http://schemas.microsoft.com/office/drawing/2014/main" id="{16176EBD-26A4-3C8B-7AEB-588E10EA4427}"/>
                  </a:ext>
                </a:extLst>
              </p:cNvPr>
              <p:cNvSpPr/>
              <p:nvPr/>
            </p:nvSpPr>
            <p:spPr>
              <a:xfrm>
                <a:off x="3271496" y="1340768"/>
                <a:ext cx="5188936" cy="1161180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𝑂𝑢𝑡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pt-BR" sz="32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d>
                            <m:dPr>
                              <m:ctrlPr>
                                <a:rPr lang="pt-BR" sz="32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pt-BR" sz="32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</a:rPr>
                                    <m:t>𝐼𝑛</m:t>
                                  </m:r>
                                </m:e>
                                <m:sub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pt-BR" sz="3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pt-BR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nary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44" name="Retângulo 43">
                <a:extLst>
                  <a:ext uri="{FF2B5EF4-FFF2-40B4-BE49-F238E27FC236}">
                    <a16:creationId xmlns:a16="http://schemas.microsoft.com/office/drawing/2014/main" id="{16176EBD-26A4-3C8B-7AEB-588E10EA442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71496" y="1340768"/>
                <a:ext cx="5188936" cy="11611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3046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Função de Ativação do Neurônio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A0ADAE00-ECFA-F749-AC16-8267699AF3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35518"/>
            <a:ext cx="9144000" cy="22577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F6EFEC8-5AB2-7029-B631-97BDD73F50B7}"/>
              </a:ext>
            </a:extLst>
          </p:cNvPr>
          <p:cNvSpPr txBox="1"/>
          <p:nvPr/>
        </p:nvSpPr>
        <p:spPr>
          <a:xfrm>
            <a:off x="107504" y="1702549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egra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877C860B-EC58-CB96-53BB-E00B0633DBCD}"/>
              </a:ext>
            </a:extLst>
          </p:cNvPr>
          <p:cNvSpPr txBox="1"/>
          <p:nvPr/>
        </p:nvSpPr>
        <p:spPr>
          <a:xfrm>
            <a:off x="3563888" y="1702549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inear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E493EF77-FFD9-BF2B-1053-5542BB030AC0}"/>
              </a:ext>
            </a:extLst>
          </p:cNvPr>
          <p:cNvSpPr txBox="1"/>
          <p:nvPr/>
        </p:nvSpPr>
        <p:spPr>
          <a:xfrm>
            <a:off x="6588224" y="1702549"/>
            <a:ext cx="2304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Sigmóide</a:t>
            </a:r>
            <a:endParaRPr lang="pt-BR" sz="36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E6D0A784-529C-5C9E-0B8B-2F30CC84C21B}"/>
                  </a:ext>
                </a:extLst>
              </p:cNvPr>
              <p:cNvSpPr txBox="1"/>
              <p:nvPr/>
            </p:nvSpPr>
            <p:spPr>
              <a:xfrm>
                <a:off x="228600" y="2531417"/>
                <a:ext cx="2175980" cy="6178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0,  </m:t>
                              </m:r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&lt;1</m:t>
                              </m:r>
                            </m:e>
                            <m:e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&amp;1,  </m:t>
                              </m:r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≥1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pt-BR" dirty="0"/>
              </a:p>
            </p:txBody>
          </p:sp>
        </mc:Choice>
        <mc:Fallback xmlns="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E6D0A784-529C-5C9E-0B8B-2F30CC84C2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" y="2531417"/>
                <a:ext cx="2175980" cy="61786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7E21DA19-942D-393D-3097-5306258A5B28}"/>
                  </a:ext>
                </a:extLst>
              </p:cNvPr>
              <p:cNvSpPr txBox="1"/>
              <p:nvPr/>
            </p:nvSpPr>
            <p:spPr>
              <a:xfrm>
                <a:off x="3696444" y="2701848"/>
                <a:ext cx="97462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𝑢</m:t>
                      </m:r>
                    </m:oMath>
                  </m:oMathPara>
                </a14:m>
                <a:endParaRPr lang="pt-BR" dirty="0"/>
              </a:p>
            </p:txBody>
          </p:sp>
        </mc:Choice>
        <mc:Fallback xmlns="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7E21DA19-942D-393D-3097-5306258A5B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6444" y="2701848"/>
                <a:ext cx="974626" cy="276999"/>
              </a:xfrm>
              <a:prstGeom prst="rect">
                <a:avLst/>
              </a:prstGeom>
              <a:blipFill>
                <a:blip r:embed="rId5"/>
                <a:stretch>
                  <a:fillRect l="-7500" t="-2174" r="-1875" b="-32609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CaixaDeTexto 13">
                <a:extLst>
                  <a:ext uri="{FF2B5EF4-FFF2-40B4-BE49-F238E27FC236}">
                    <a16:creationId xmlns:a16="http://schemas.microsoft.com/office/drawing/2014/main" id="{56FF3836-F9BA-9B34-20D6-4FD38447A661}"/>
                  </a:ext>
                </a:extLst>
              </p:cNvPr>
              <p:cNvSpPr txBox="1"/>
              <p:nvPr/>
            </p:nvSpPr>
            <p:spPr>
              <a:xfrm>
                <a:off x="6693718" y="2557449"/>
                <a:ext cx="1898533" cy="5657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d>
                            <m:dPr>
                              <m:ctrlP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sSup>
                                <m:sSupPr>
                                  <m:ctrlPr>
                                    <a:rPr lang="pt-BR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pt-BR" b="0" i="1" smtClean="0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pt-BR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pt-BR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𝛽</m:t>
                                  </m:r>
                                  <m:r>
                                    <a:rPr lang="pt-BR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</m:t>
                                  </m:r>
                                </m:sup>
                              </m:sSup>
                            </m:e>
                          </m:d>
                        </m:den>
                      </m:f>
                    </m:oMath>
                  </m:oMathPara>
                </a14:m>
                <a:endParaRPr lang="pt-BR" dirty="0"/>
              </a:p>
            </p:txBody>
          </p:sp>
        </mc:Choice>
        <mc:Fallback xmlns="">
          <p:sp>
            <p:nvSpPr>
              <p:cNvPr id="14" name="CaixaDeTexto 13">
                <a:extLst>
                  <a:ext uri="{FF2B5EF4-FFF2-40B4-BE49-F238E27FC236}">
                    <a16:creationId xmlns:a16="http://schemas.microsoft.com/office/drawing/2014/main" id="{56FF3836-F9BA-9B34-20D6-4FD38447A6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93718" y="2557449"/>
                <a:ext cx="1898533" cy="56579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7920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/>
      <p:bldP spid="11" grpId="0"/>
      <p:bldP spid="12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1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75A45B2-19E7-37EA-60E1-9F8050B7BB15}"/>
              </a:ext>
            </a:extLst>
          </p:cNvPr>
          <p:cNvSpPr txBox="1"/>
          <p:nvPr/>
        </p:nvSpPr>
        <p:spPr>
          <a:xfrm>
            <a:off x="179512" y="836712"/>
            <a:ext cx="8424936" cy="2251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q"/>
            </a:pPr>
            <a:r>
              <a:rPr lang="en-US" sz="2400" dirty="0">
                <a:latin typeface="Gotham HTF Light"/>
                <a:cs typeface="Gotham HTF Light"/>
              </a:rPr>
              <a:t>Dado </a:t>
            </a:r>
            <a:r>
              <a:rPr lang="en-US" sz="2400" dirty="0" err="1">
                <a:latin typeface="Gotham HTF Light"/>
                <a:cs typeface="Gotham HTF Light"/>
              </a:rPr>
              <a:t>uma</a:t>
            </a:r>
            <a:r>
              <a:rPr lang="en-US" sz="2400" dirty="0">
                <a:latin typeface="Gotham HTF Light"/>
                <a:cs typeface="Gotham HTF Light"/>
              </a:rPr>
              <a:t> rede neural de </a:t>
            </a:r>
            <a:r>
              <a:rPr lang="en-US" sz="2400" dirty="0" err="1">
                <a:latin typeface="Gotham HTF Light"/>
                <a:cs typeface="Gotham HTF Light"/>
              </a:rPr>
              <a:t>uma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camada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cujas</a:t>
            </a:r>
            <a:r>
              <a:rPr lang="en-US" sz="2400" dirty="0">
                <a:latin typeface="Gotham HTF Light"/>
                <a:cs typeface="Gotham HTF Light"/>
              </a:rPr>
              <a:t> entradas </a:t>
            </a:r>
            <a:r>
              <a:rPr lang="en-US" sz="2400" dirty="0" err="1">
                <a:latin typeface="Gotham HTF Light"/>
                <a:cs typeface="Gotham HTF Light"/>
              </a:rPr>
              <a:t>são</a:t>
            </a:r>
            <a:r>
              <a:rPr lang="en-US" sz="2400" dirty="0">
                <a:latin typeface="Gotham HTF Light"/>
                <a:cs typeface="Gotham HTF Light"/>
              </a:rPr>
              <a:t> 1, 2 e 3, e </a:t>
            </a:r>
            <a:r>
              <a:rPr lang="en-US" sz="2400" dirty="0" err="1">
                <a:latin typeface="Gotham HTF Light"/>
                <a:cs typeface="Gotham HTF Light"/>
              </a:rPr>
              <a:t>os</a:t>
            </a:r>
            <a:r>
              <a:rPr lang="en-US" sz="2400" dirty="0">
                <a:latin typeface="Gotham HTF Light"/>
                <a:cs typeface="Gotham HTF Light"/>
              </a:rPr>
              <a:t> pesos </a:t>
            </a:r>
            <a:r>
              <a:rPr lang="en-US" sz="2400" dirty="0" err="1">
                <a:latin typeface="Gotham HTF Light"/>
                <a:cs typeface="Gotham HTF Light"/>
              </a:rPr>
              <a:t>são</a:t>
            </a:r>
            <a:r>
              <a:rPr lang="en-US" sz="2400" dirty="0">
                <a:latin typeface="Gotham HTF Light"/>
                <a:cs typeface="Gotham HTF Light"/>
              </a:rPr>
              <a:t> 0.1, 0.2 e 0.3, </a:t>
            </a:r>
            <a:r>
              <a:rPr lang="en-US" sz="2400" dirty="0" err="1">
                <a:latin typeface="Gotham HTF Light"/>
                <a:cs typeface="Gotham HTF Light"/>
              </a:rPr>
              <a:t>calcule</a:t>
            </a:r>
            <a:r>
              <a:rPr lang="en-US" sz="2400" dirty="0">
                <a:latin typeface="Gotham HTF Light"/>
                <a:cs typeface="Gotham HTF Light"/>
              </a:rPr>
              <a:t> a </a:t>
            </a:r>
            <a:r>
              <a:rPr lang="en-US" sz="2400" dirty="0" err="1">
                <a:latin typeface="Gotham HTF Light"/>
                <a:cs typeface="Gotham HTF Light"/>
              </a:rPr>
              <a:t>saída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deste</a:t>
            </a:r>
            <a:r>
              <a:rPr lang="en-US" sz="2400" dirty="0">
                <a:latin typeface="Gotham HTF Light"/>
                <a:cs typeface="Gotham HTF Light"/>
              </a:rPr>
              <a:t> perceptron </a:t>
            </a:r>
            <a:r>
              <a:rPr lang="en-US" sz="2400" dirty="0" err="1">
                <a:latin typeface="Gotham HTF Light"/>
                <a:cs typeface="Gotham HTF Light"/>
              </a:rPr>
              <a:t>considerando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uma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função</a:t>
            </a:r>
            <a:r>
              <a:rPr lang="en-US" sz="2400" dirty="0">
                <a:latin typeface="Gotham HTF Light"/>
                <a:cs typeface="Gotham HTF Light"/>
              </a:rPr>
              <a:t> de </a:t>
            </a:r>
            <a:r>
              <a:rPr lang="en-US" sz="2400" dirty="0" err="1">
                <a:latin typeface="Gotham HTF Light"/>
                <a:cs typeface="Gotham HTF Light"/>
              </a:rPr>
              <a:t>ativação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degrau</a:t>
            </a:r>
            <a:r>
              <a:rPr lang="en-US" sz="2400" dirty="0">
                <a:latin typeface="Gotham HTF Light"/>
                <a:cs typeface="Gotham HTF Light"/>
              </a:rPr>
              <a:t> e bias = 0.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endParaRPr lang="en-US" sz="2400" dirty="0">
              <a:latin typeface="Gotham HTF Light"/>
              <a:cs typeface="Gotham HTF Light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040B6C80-46DA-E5BD-46D8-4FD178BCC29E}"/>
              </a:ext>
            </a:extLst>
          </p:cNvPr>
          <p:cNvSpPr/>
          <p:nvPr/>
        </p:nvSpPr>
        <p:spPr>
          <a:xfrm>
            <a:off x="611560" y="2777498"/>
            <a:ext cx="2160240" cy="2091662"/>
          </a:xfrm>
          <a:prstGeom prst="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3200" b="0" dirty="0"/>
              <a:t>Entradas:</a:t>
            </a:r>
          </a:p>
          <a:p>
            <a:r>
              <a:rPr lang="pt-BR" sz="3200" b="0" dirty="0"/>
              <a:t>In1 = 1</a:t>
            </a:r>
          </a:p>
          <a:p>
            <a:r>
              <a:rPr lang="pt-BR" sz="3200" dirty="0"/>
              <a:t>In2 = 2</a:t>
            </a:r>
          </a:p>
          <a:p>
            <a:r>
              <a:rPr lang="pt-BR" sz="3200" b="0" dirty="0"/>
              <a:t>In3 = 3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26ECA13-37BB-7ED3-09DB-9B948518F4B5}"/>
              </a:ext>
            </a:extLst>
          </p:cNvPr>
          <p:cNvSpPr/>
          <p:nvPr/>
        </p:nvSpPr>
        <p:spPr>
          <a:xfrm>
            <a:off x="3347864" y="2780928"/>
            <a:ext cx="2160240" cy="2091662"/>
          </a:xfrm>
          <a:prstGeom prst="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3200" b="0" dirty="0"/>
              <a:t>Pesos:</a:t>
            </a:r>
          </a:p>
          <a:p>
            <a:r>
              <a:rPr lang="pt-BR" sz="3200" dirty="0"/>
              <a:t>w</a:t>
            </a:r>
            <a:r>
              <a:rPr lang="pt-BR" sz="3200" b="0" dirty="0"/>
              <a:t>1 = 0.1</a:t>
            </a:r>
          </a:p>
          <a:p>
            <a:r>
              <a:rPr lang="pt-BR" sz="3200" dirty="0"/>
              <a:t>w2 = 0.2</a:t>
            </a:r>
          </a:p>
          <a:p>
            <a:r>
              <a:rPr lang="pt-BR" sz="3200" dirty="0"/>
              <a:t>w</a:t>
            </a:r>
            <a:r>
              <a:rPr lang="pt-BR" sz="3200" b="0" dirty="0"/>
              <a:t>3 = 0.3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261FE4D5-47C3-58F6-1E4C-DCA4B89049FC}"/>
              </a:ext>
            </a:extLst>
          </p:cNvPr>
          <p:cNvSpPr/>
          <p:nvPr/>
        </p:nvSpPr>
        <p:spPr>
          <a:xfrm>
            <a:off x="6084168" y="2780928"/>
            <a:ext cx="2160240" cy="2091662"/>
          </a:xfrm>
          <a:prstGeom prst="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3200" b="0" dirty="0"/>
              <a:t>bias:</a:t>
            </a:r>
          </a:p>
          <a:p>
            <a:r>
              <a:rPr lang="pt-BR" sz="3200" dirty="0"/>
              <a:t>b</a:t>
            </a:r>
            <a:r>
              <a:rPr lang="pt-BR" sz="3200" b="0" dirty="0"/>
              <a:t> = 0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tângulo 6">
                <a:extLst>
                  <a:ext uri="{FF2B5EF4-FFF2-40B4-BE49-F238E27FC236}">
                    <a16:creationId xmlns:a16="http://schemas.microsoft.com/office/drawing/2014/main" id="{E464A250-5579-5219-9926-29F60355A3E9}"/>
                  </a:ext>
                </a:extLst>
              </p:cNvPr>
              <p:cNvSpPr/>
              <p:nvPr/>
            </p:nvSpPr>
            <p:spPr>
              <a:xfrm>
                <a:off x="183013" y="5157192"/>
                <a:ext cx="3020835" cy="1008112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𝑂𝑢𝑡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7" name="Retângulo 6">
                <a:extLst>
                  <a:ext uri="{FF2B5EF4-FFF2-40B4-BE49-F238E27FC236}">
                    <a16:creationId xmlns:a16="http://schemas.microsoft.com/office/drawing/2014/main" id="{E464A250-5579-5219-9926-29F60355A3E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013" y="5157192"/>
                <a:ext cx="3020835" cy="100811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tângulo 7">
                <a:extLst>
                  <a:ext uri="{FF2B5EF4-FFF2-40B4-BE49-F238E27FC236}">
                    <a16:creationId xmlns:a16="http://schemas.microsoft.com/office/drawing/2014/main" id="{BFE9AE8C-3940-8131-BB83-92B503FE7FFD}"/>
                  </a:ext>
                </a:extLst>
              </p:cNvPr>
              <p:cNvSpPr/>
              <p:nvPr/>
            </p:nvSpPr>
            <p:spPr>
              <a:xfrm>
                <a:off x="3923928" y="5157192"/>
                <a:ext cx="5004048" cy="1008112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𝑂𝑢𝑡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pt-BR" sz="32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d>
                            <m:dPr>
                              <m:ctrlPr>
                                <a:rPr lang="pt-BR" sz="32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pt-BR" sz="32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</a:rPr>
                                    <m:t>𝐼𝑛</m:t>
                                  </m:r>
                                </m:e>
                                <m:sub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pt-BR" sz="3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pt-BR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nary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8" name="Retângulo 7">
                <a:extLst>
                  <a:ext uri="{FF2B5EF4-FFF2-40B4-BE49-F238E27FC236}">
                    <a16:creationId xmlns:a16="http://schemas.microsoft.com/office/drawing/2014/main" id="{BFE9AE8C-3940-8131-BB83-92B503FE7FF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928" y="5157192"/>
                <a:ext cx="5004048" cy="100811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B14F3758-38B9-3C3B-B9BE-13C26D28160B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3203848" y="5661248"/>
            <a:ext cx="72008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60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46A48800-DEA9-52ED-8CFF-19CE8AF81A1D}"/>
                  </a:ext>
                </a:extLst>
              </p:cNvPr>
              <p:cNvSpPr/>
              <p:nvPr/>
            </p:nvSpPr>
            <p:spPr>
              <a:xfrm>
                <a:off x="179512" y="980728"/>
                <a:ext cx="8748464" cy="1008112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1∗0.1+2∗0.2+3∗0.3 ∴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𝑢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1.4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46A48800-DEA9-52ED-8CFF-19CE8AF81A1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980728"/>
                <a:ext cx="8748464" cy="100811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5D4F408E-92A4-0D61-7BF9-DFA7C5298854}"/>
                  </a:ext>
                </a:extLst>
              </p:cNvPr>
              <p:cNvSpPr/>
              <p:nvPr/>
            </p:nvSpPr>
            <p:spPr>
              <a:xfrm>
                <a:off x="216024" y="2204864"/>
                <a:ext cx="8748464" cy="1008112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1.4+0 ∴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1.4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5D4F408E-92A4-0D61-7BF9-DFA7C529885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024" y="2204864"/>
                <a:ext cx="8748464" cy="100811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6">
            <a:extLst>
              <a:ext uri="{FF2B5EF4-FFF2-40B4-BE49-F238E27FC236}">
                <a16:creationId xmlns:a16="http://schemas.microsoft.com/office/drawing/2014/main" id="{91518E05-A115-597A-F094-2D5DE0B0A688}"/>
              </a:ext>
            </a:extLst>
          </p:cNvPr>
          <p:cNvSpPr txBox="1"/>
          <p:nvPr/>
        </p:nvSpPr>
        <p:spPr>
          <a:xfrm>
            <a:off x="179512" y="3926487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egrau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CaixaDeTexto 15">
                <a:extLst>
                  <a:ext uri="{FF2B5EF4-FFF2-40B4-BE49-F238E27FC236}">
                    <a16:creationId xmlns:a16="http://schemas.microsoft.com/office/drawing/2014/main" id="{3E89E95B-4E49-DB64-FF04-AFAAEC80AC47}"/>
                  </a:ext>
                </a:extLst>
              </p:cNvPr>
              <p:cNvSpPr txBox="1"/>
              <p:nvPr/>
            </p:nvSpPr>
            <p:spPr>
              <a:xfrm>
                <a:off x="179512" y="4755355"/>
                <a:ext cx="2175980" cy="6178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0,  </m:t>
                              </m:r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&lt;1</m:t>
                              </m:r>
                            </m:e>
                            <m:e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&amp;1,  </m:t>
                              </m:r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≥1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pt-BR" dirty="0"/>
              </a:p>
            </p:txBody>
          </p:sp>
        </mc:Choice>
        <mc:Fallback xmlns="">
          <p:sp>
            <p:nvSpPr>
              <p:cNvPr id="16" name="CaixaDeTexto 15">
                <a:extLst>
                  <a:ext uri="{FF2B5EF4-FFF2-40B4-BE49-F238E27FC236}">
                    <a16:creationId xmlns:a16="http://schemas.microsoft.com/office/drawing/2014/main" id="{3E89E95B-4E49-DB64-FF04-AFAAEC80AC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4755355"/>
                <a:ext cx="2175980" cy="617861"/>
              </a:xfrm>
              <a:prstGeom prst="rect">
                <a:avLst/>
              </a:prstGeom>
              <a:blipFill>
                <a:blip r:embed="rId5"/>
                <a:stretch>
                  <a:fillRect b="-99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Imagem 17">
            <a:extLst>
              <a:ext uri="{FF2B5EF4-FFF2-40B4-BE49-F238E27FC236}">
                <a16:creationId xmlns:a16="http://schemas.microsoft.com/office/drawing/2014/main" id="{CA6704EE-CEBF-D55F-8D6A-D1A6B5C126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55776" y="3415983"/>
            <a:ext cx="3868663" cy="316200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A6C66DA9-09D4-2916-C8C9-14745E552158}"/>
                  </a:ext>
                </a:extLst>
              </p:cNvPr>
              <p:cNvSpPr/>
              <p:nvPr/>
            </p:nvSpPr>
            <p:spPr>
              <a:xfrm>
                <a:off x="6624723" y="4572818"/>
                <a:ext cx="2448272" cy="1008112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t-BR" sz="3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1.4</m:t>
                          </m:r>
                        </m:e>
                      </m:d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19" name="Retângulo 18">
                <a:extLst>
                  <a:ext uri="{FF2B5EF4-FFF2-40B4-BE49-F238E27FC236}">
                    <a16:creationId xmlns:a16="http://schemas.microsoft.com/office/drawing/2014/main" id="{A6C66DA9-09D4-2916-C8C9-14745E55215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4723" y="4572818"/>
                <a:ext cx="2448272" cy="100811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6832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/>
      <p:bldP spid="16" grpId="0"/>
      <p:bldP spid="1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2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75A45B2-19E7-37EA-60E1-9F8050B7BB15}"/>
              </a:ext>
            </a:extLst>
          </p:cNvPr>
          <p:cNvSpPr txBox="1"/>
          <p:nvPr/>
        </p:nvSpPr>
        <p:spPr>
          <a:xfrm>
            <a:off x="179512" y="836712"/>
            <a:ext cx="9073008" cy="2251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q"/>
            </a:pPr>
            <a:r>
              <a:rPr lang="en-US" sz="2400" dirty="0">
                <a:latin typeface="Gotham HTF Light"/>
                <a:cs typeface="Gotham HTF Light"/>
              </a:rPr>
              <a:t>Dado </a:t>
            </a:r>
            <a:r>
              <a:rPr lang="en-US" sz="2400" dirty="0" err="1">
                <a:latin typeface="Gotham HTF Light"/>
                <a:cs typeface="Gotham HTF Light"/>
              </a:rPr>
              <a:t>uma</a:t>
            </a:r>
            <a:r>
              <a:rPr lang="en-US" sz="2400" dirty="0">
                <a:latin typeface="Gotham HTF Light"/>
                <a:cs typeface="Gotham HTF Light"/>
              </a:rPr>
              <a:t> rede neural de </a:t>
            </a:r>
            <a:r>
              <a:rPr lang="en-US" sz="2400" dirty="0" err="1">
                <a:latin typeface="Gotham HTF Light"/>
                <a:cs typeface="Gotham HTF Light"/>
              </a:rPr>
              <a:t>uma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camada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cujas</a:t>
            </a:r>
            <a:r>
              <a:rPr lang="en-US" sz="2400" dirty="0">
                <a:latin typeface="Gotham HTF Light"/>
                <a:cs typeface="Gotham HTF Light"/>
              </a:rPr>
              <a:t> entradas </a:t>
            </a:r>
            <a:r>
              <a:rPr lang="en-US" sz="2400" dirty="0" err="1">
                <a:latin typeface="Gotham HTF Light"/>
                <a:cs typeface="Gotham HTF Light"/>
              </a:rPr>
              <a:t>são</a:t>
            </a:r>
            <a:r>
              <a:rPr lang="en-US" sz="2400" dirty="0">
                <a:latin typeface="Gotham HTF Light"/>
                <a:cs typeface="Gotham HTF Light"/>
              </a:rPr>
              <a:t> -1.0, 5.0 e 0.2, e </a:t>
            </a:r>
            <a:r>
              <a:rPr lang="en-US" sz="2400" dirty="0" err="1">
                <a:latin typeface="Gotham HTF Light"/>
                <a:cs typeface="Gotham HTF Light"/>
              </a:rPr>
              <a:t>os</a:t>
            </a:r>
            <a:r>
              <a:rPr lang="en-US" sz="2400" dirty="0">
                <a:latin typeface="Gotham HTF Light"/>
                <a:cs typeface="Gotham HTF Light"/>
              </a:rPr>
              <a:t> pesos </a:t>
            </a:r>
            <a:r>
              <a:rPr lang="en-US" sz="2400" dirty="0" err="1">
                <a:latin typeface="Gotham HTF Light"/>
                <a:cs typeface="Gotham HTF Light"/>
              </a:rPr>
              <a:t>são</a:t>
            </a:r>
            <a:r>
              <a:rPr lang="en-US" sz="2400" dirty="0">
                <a:latin typeface="Gotham HTF Light"/>
                <a:cs typeface="Gotham HTF Light"/>
              </a:rPr>
              <a:t> 0.11, -0.2 e 4.0, </a:t>
            </a:r>
            <a:r>
              <a:rPr lang="en-US" sz="2400" dirty="0" err="1">
                <a:latin typeface="Gotham HTF Light"/>
                <a:cs typeface="Gotham HTF Light"/>
              </a:rPr>
              <a:t>calcule</a:t>
            </a:r>
            <a:r>
              <a:rPr lang="en-US" sz="2400" dirty="0">
                <a:latin typeface="Gotham HTF Light"/>
                <a:cs typeface="Gotham HTF Light"/>
              </a:rPr>
              <a:t> a </a:t>
            </a:r>
            <a:r>
              <a:rPr lang="en-US" sz="2400" dirty="0" err="1">
                <a:latin typeface="Gotham HTF Light"/>
                <a:cs typeface="Gotham HTF Light"/>
              </a:rPr>
              <a:t>saída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deste</a:t>
            </a:r>
            <a:r>
              <a:rPr lang="en-US" sz="2400" dirty="0">
                <a:latin typeface="Gotham HTF Light"/>
                <a:cs typeface="Gotham HTF Light"/>
              </a:rPr>
              <a:t> perceptron </a:t>
            </a:r>
            <a:r>
              <a:rPr lang="en-US" sz="2400" dirty="0" err="1">
                <a:latin typeface="Gotham HTF Light"/>
                <a:cs typeface="Gotham HTF Light"/>
              </a:rPr>
              <a:t>considerando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uma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função</a:t>
            </a:r>
            <a:r>
              <a:rPr lang="en-US" sz="2400" dirty="0">
                <a:latin typeface="Gotham HTF Light"/>
                <a:cs typeface="Gotham HTF Light"/>
              </a:rPr>
              <a:t> de </a:t>
            </a:r>
            <a:r>
              <a:rPr lang="en-US" sz="2400" dirty="0" err="1">
                <a:latin typeface="Gotham HTF Light"/>
                <a:cs typeface="Gotham HTF Light"/>
              </a:rPr>
              <a:t>ativação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sigmóide</a:t>
            </a:r>
            <a:r>
              <a:rPr lang="en-US" sz="2400" dirty="0">
                <a:latin typeface="Gotham HTF Light"/>
                <a:cs typeface="Gotham HTF Light"/>
              </a:rPr>
              <a:t> e </a:t>
            </a:r>
            <a:r>
              <a:rPr lang="el-GR" sz="2400" dirty="0">
                <a:latin typeface="Calibri" panose="020F0502020204030204" pitchFamily="34" charset="0"/>
                <a:cs typeface="Calibri" panose="020F0502020204030204" pitchFamily="34" charset="0"/>
              </a:rPr>
              <a:t>β</a:t>
            </a:r>
            <a:r>
              <a:rPr lang="en-US" sz="2400" dirty="0">
                <a:latin typeface="Gotham HTF Light"/>
                <a:cs typeface="Gotham HTF Light"/>
              </a:rPr>
              <a:t>= 1.25.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endParaRPr lang="en-US" sz="2400" dirty="0">
              <a:latin typeface="Gotham HTF Light"/>
              <a:cs typeface="Gotham HTF Light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DF584AFF-F29B-C262-8131-D2C6416E0FC4}"/>
              </a:ext>
            </a:extLst>
          </p:cNvPr>
          <p:cNvSpPr/>
          <p:nvPr/>
        </p:nvSpPr>
        <p:spPr>
          <a:xfrm>
            <a:off x="611560" y="2708920"/>
            <a:ext cx="2160240" cy="2091662"/>
          </a:xfrm>
          <a:prstGeom prst="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3200" b="0" dirty="0"/>
              <a:t>Entradas:</a:t>
            </a:r>
          </a:p>
          <a:p>
            <a:r>
              <a:rPr lang="pt-BR" sz="3200" b="0" dirty="0"/>
              <a:t>In1 = -1.0</a:t>
            </a:r>
          </a:p>
          <a:p>
            <a:r>
              <a:rPr lang="pt-BR" sz="3200" dirty="0"/>
              <a:t>In2 = 5.0</a:t>
            </a:r>
          </a:p>
          <a:p>
            <a:r>
              <a:rPr lang="pt-BR" sz="3200" b="0" dirty="0"/>
              <a:t>In3 = 0.2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0E3DAE81-FF53-78C4-2CE9-E7CCF5492DAD}"/>
              </a:ext>
            </a:extLst>
          </p:cNvPr>
          <p:cNvSpPr/>
          <p:nvPr/>
        </p:nvSpPr>
        <p:spPr>
          <a:xfrm>
            <a:off x="3347864" y="2712350"/>
            <a:ext cx="2160240" cy="2091662"/>
          </a:xfrm>
          <a:prstGeom prst="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3200" b="0" dirty="0"/>
              <a:t>Pesos:</a:t>
            </a:r>
          </a:p>
          <a:p>
            <a:r>
              <a:rPr lang="pt-BR" sz="3200" dirty="0"/>
              <a:t>w</a:t>
            </a:r>
            <a:r>
              <a:rPr lang="pt-BR" sz="3200" b="0" dirty="0"/>
              <a:t>1 = 0.11</a:t>
            </a:r>
          </a:p>
          <a:p>
            <a:r>
              <a:rPr lang="pt-BR" sz="3200" dirty="0"/>
              <a:t>w2 = -0.2</a:t>
            </a:r>
          </a:p>
          <a:p>
            <a:r>
              <a:rPr lang="pt-BR" sz="3200" dirty="0"/>
              <a:t>w</a:t>
            </a:r>
            <a:r>
              <a:rPr lang="pt-BR" sz="3200" b="0" dirty="0"/>
              <a:t>3 = 4.0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tângulo 4">
                <a:extLst>
                  <a:ext uri="{FF2B5EF4-FFF2-40B4-BE49-F238E27FC236}">
                    <a16:creationId xmlns:a16="http://schemas.microsoft.com/office/drawing/2014/main" id="{9A0B5E1A-34FA-6B75-D6A8-FF7BA73CF3AC}"/>
                  </a:ext>
                </a:extLst>
              </p:cNvPr>
              <p:cNvSpPr/>
              <p:nvPr/>
            </p:nvSpPr>
            <p:spPr>
              <a:xfrm>
                <a:off x="183013" y="5013176"/>
                <a:ext cx="3020835" cy="1008112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𝑂𝑢𝑡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5" name="Retângulo 4">
                <a:extLst>
                  <a:ext uri="{FF2B5EF4-FFF2-40B4-BE49-F238E27FC236}">
                    <a16:creationId xmlns:a16="http://schemas.microsoft.com/office/drawing/2014/main" id="{9A0B5E1A-34FA-6B75-D6A8-FF7BA73CF3A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013" y="5013176"/>
                <a:ext cx="3020835" cy="100811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tângulo 5">
                <a:extLst>
                  <a:ext uri="{FF2B5EF4-FFF2-40B4-BE49-F238E27FC236}">
                    <a16:creationId xmlns:a16="http://schemas.microsoft.com/office/drawing/2014/main" id="{ECB1B360-EF68-4C44-1AF9-26903F3C91F8}"/>
                  </a:ext>
                </a:extLst>
              </p:cNvPr>
              <p:cNvSpPr/>
              <p:nvPr/>
            </p:nvSpPr>
            <p:spPr>
              <a:xfrm>
                <a:off x="3923928" y="5013176"/>
                <a:ext cx="5004048" cy="1008112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𝑂𝑢𝑡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pt-BR" sz="32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d>
                            <m:dPr>
                              <m:ctrlPr>
                                <a:rPr lang="pt-BR" sz="32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pt-BR" sz="32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</a:rPr>
                                    <m:t>𝐼𝑛</m:t>
                                  </m:r>
                                </m:e>
                                <m:sub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pt-BR" sz="3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pt-BR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pt-BR" sz="32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nary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6" name="Retângulo 5">
                <a:extLst>
                  <a:ext uri="{FF2B5EF4-FFF2-40B4-BE49-F238E27FC236}">
                    <a16:creationId xmlns:a16="http://schemas.microsoft.com/office/drawing/2014/main" id="{ECB1B360-EF68-4C44-1AF9-26903F3C91F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3928" y="5013176"/>
                <a:ext cx="5004048" cy="100811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FA5D2F49-6BB6-FDC6-6D69-D75A331A0A08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3203848" y="5517232"/>
            <a:ext cx="72008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248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5" grpId="0" animBg="1"/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46A48800-DEA9-52ED-8CFF-19CE8AF81A1D}"/>
                  </a:ext>
                </a:extLst>
              </p:cNvPr>
              <p:cNvSpPr/>
              <p:nvPr/>
            </p:nvSpPr>
            <p:spPr>
              <a:xfrm>
                <a:off x="179512" y="980728"/>
                <a:ext cx="8748464" cy="1008112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−1∗0.11+5∗−0.2+0.2∗4 ∴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𝑢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−0.31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46A48800-DEA9-52ED-8CFF-19CE8AF81A1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980728"/>
                <a:ext cx="8748464" cy="100811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6">
            <a:extLst>
              <a:ext uri="{FF2B5EF4-FFF2-40B4-BE49-F238E27FC236}">
                <a16:creationId xmlns:a16="http://schemas.microsoft.com/office/drawing/2014/main" id="{4B37DC9C-730B-7125-827C-4696D853345A}"/>
              </a:ext>
            </a:extLst>
          </p:cNvPr>
          <p:cNvSpPr txBox="1"/>
          <p:nvPr/>
        </p:nvSpPr>
        <p:spPr>
          <a:xfrm>
            <a:off x="3563888" y="2420888"/>
            <a:ext cx="2304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Sigmóide</a:t>
            </a:r>
            <a:endParaRPr lang="pt-BR" sz="36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60572B7F-1ABD-5024-EF75-24B9DF178C15}"/>
                  </a:ext>
                </a:extLst>
              </p:cNvPr>
              <p:cNvSpPr txBox="1"/>
              <p:nvPr/>
            </p:nvSpPr>
            <p:spPr>
              <a:xfrm>
                <a:off x="3766750" y="3223244"/>
                <a:ext cx="1898533" cy="5657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  <m:r>
                        <a:rPr lang="pt-BR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d>
                            <m:dPr>
                              <m:ctrlP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pt-BR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sSup>
                                <m:sSupPr>
                                  <m:ctrlPr>
                                    <a:rPr lang="pt-BR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pt-BR" b="0" i="1" smtClean="0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pt-BR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pt-BR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𝛽</m:t>
                                  </m:r>
                                  <m:r>
                                    <a:rPr lang="pt-BR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</m:t>
                                  </m:r>
                                </m:sup>
                              </m:sSup>
                            </m:e>
                          </m:d>
                        </m:den>
                      </m:f>
                    </m:oMath>
                  </m:oMathPara>
                </a14:m>
                <a:endParaRPr lang="pt-BR" dirty="0"/>
              </a:p>
            </p:txBody>
          </p:sp>
        </mc:Choice>
        <mc:Fallback xmlns="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60572B7F-1ABD-5024-EF75-24B9DF178C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6750" y="3223244"/>
                <a:ext cx="1898533" cy="56579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tângulo 3">
                <a:extLst>
                  <a:ext uri="{FF2B5EF4-FFF2-40B4-BE49-F238E27FC236}">
                    <a16:creationId xmlns:a16="http://schemas.microsoft.com/office/drawing/2014/main" id="{FF5624C4-9D81-0415-164A-8F5957CBC926}"/>
                  </a:ext>
                </a:extLst>
              </p:cNvPr>
              <p:cNvSpPr/>
              <p:nvPr/>
            </p:nvSpPr>
            <p:spPr>
              <a:xfrm>
                <a:off x="360040" y="4293096"/>
                <a:ext cx="8567936" cy="1512168"/>
              </a:xfrm>
              <a:prstGeom prst="rect">
                <a:avLst/>
              </a:prstGeom>
              <a:solidFill>
                <a:srgbClr val="ED265B"/>
              </a:solidFill>
              <a:ln>
                <a:solidFill>
                  <a:srgbClr val="ED145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𝑂𝑢𝑡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pt-BR" sz="3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pt-BR" sz="32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pt-BR" sz="3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pt-BR" sz="3200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pt-BR" sz="32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pt-BR" sz="3200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pt-BR" sz="3200" b="0" i="1" smtClean="0">
                                  <a:latin typeface="Cambria Math" panose="02040503050406030204" pitchFamily="18" charset="0"/>
                                </a:rPr>
                                <m:t>−1,25∗(−0.31)</m:t>
                              </m:r>
                            </m:sup>
                          </m:sSup>
                        </m:den>
                      </m:f>
                      <m:r>
                        <a:rPr lang="pt-BR" sz="3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≅</m:t>
                      </m:r>
                      <m:r>
                        <a:rPr lang="pt-BR" sz="3200" b="0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0,40432</m:t>
                      </m:r>
                    </m:oMath>
                  </m:oMathPara>
                </a14:m>
                <a:endParaRPr lang="pt-BR" sz="3200" dirty="0"/>
              </a:p>
            </p:txBody>
          </p:sp>
        </mc:Choice>
        <mc:Fallback xmlns="">
          <p:sp>
            <p:nvSpPr>
              <p:cNvPr id="4" name="Retângulo 3">
                <a:extLst>
                  <a:ext uri="{FF2B5EF4-FFF2-40B4-BE49-F238E27FC236}">
                    <a16:creationId xmlns:a16="http://schemas.microsoft.com/office/drawing/2014/main" id="{FF5624C4-9D81-0415-164A-8F5957CBC92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0040" y="4293096"/>
                <a:ext cx="8567936" cy="151216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rgbClr val="ED145B"/>
                </a:solidFill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4953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" grpId="0"/>
      <p:bldP spid="3" grpId="0"/>
      <p:bldP spid="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3 – Para Cas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75A45B2-19E7-37EA-60E1-9F8050B7BB15}"/>
              </a:ext>
            </a:extLst>
          </p:cNvPr>
          <p:cNvSpPr txBox="1"/>
          <p:nvPr/>
        </p:nvSpPr>
        <p:spPr>
          <a:xfrm>
            <a:off x="179512" y="836712"/>
            <a:ext cx="8964488" cy="7052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q"/>
            </a:pPr>
            <a:r>
              <a:rPr lang="pt-BR" sz="1400" dirty="0">
                <a:latin typeface="Gotham HTF Light"/>
                <a:cs typeface="Gotham HTF Light"/>
              </a:rPr>
              <a:t>Implemente o exercício 1 e 2 usando Python e a biblioteca </a:t>
            </a:r>
            <a:r>
              <a:rPr lang="pt-BR" sz="1400" dirty="0" err="1">
                <a:latin typeface="Gotham HTF Light"/>
                <a:cs typeface="Gotham HTF Light"/>
              </a:rPr>
              <a:t>numpy</a:t>
            </a:r>
            <a:endParaRPr lang="en-US" sz="1400" dirty="0">
              <a:latin typeface="Gotham HTF Light"/>
              <a:cs typeface="Gotham HTF Light"/>
            </a:endParaRP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endParaRPr lang="en-US" sz="1400" dirty="0">
              <a:latin typeface="Gotham HTF Light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105835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059230"/>
              </p:ext>
            </p:extLst>
          </p:nvPr>
        </p:nvGraphicFramePr>
        <p:xfrm>
          <a:off x="4716996" y="3091919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96761C63-DAAE-4CBA-E27D-C1F38C2F3D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899" y="3366747"/>
            <a:ext cx="3190875" cy="1371600"/>
          </a:xfrm>
          <a:prstGeom prst="rect">
            <a:avLst/>
          </a:prstGeom>
        </p:spPr>
      </p:pic>
      <p:sp>
        <p:nvSpPr>
          <p:cNvPr id="6" name="Freeform: Shape 7">
            <a:extLst>
              <a:ext uri="{FF2B5EF4-FFF2-40B4-BE49-F238E27FC236}">
                <a16:creationId xmlns:a16="http://schemas.microsoft.com/office/drawing/2014/main" id="{E684226B-5EAF-98BB-F908-C87F06E46524}"/>
              </a:ext>
            </a:extLst>
          </p:cNvPr>
          <p:cNvSpPr/>
          <p:nvPr/>
        </p:nvSpPr>
        <p:spPr>
          <a:xfrm flipH="1">
            <a:off x="754899" y="1894191"/>
            <a:ext cx="7634504" cy="724163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2000" rtlCol="0" anchor="ctr">
            <a:noAutofit/>
          </a:bodyPr>
          <a:lstStyle/>
          <a:p>
            <a:pPr defTabSz="685800">
              <a:defRPr/>
            </a:pPr>
            <a:r>
              <a:rPr lang="pt-BR" sz="1600" b="1" dirty="0">
                <a:solidFill>
                  <a:srgbClr val="ED265B"/>
                </a:solidFill>
                <a:latin typeface="Gotham HTF"/>
              </a:rPr>
              <a:t>Vamos implementar uma porta lógica tipo AND usando Rede Neural!</a:t>
            </a:r>
          </a:p>
        </p:txBody>
      </p:sp>
    </p:spTree>
    <p:extLst>
      <p:ext uri="{BB962C8B-B14F-4D97-AF65-F5344CB8AC3E}">
        <p14:creationId xmlns:p14="http://schemas.microsoft.com/office/powerpoint/2010/main" val="2886992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DE SISTEMAS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DISRUPTIVE ARCHITECTURES: IOT, IOB &amp; IA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7 – </a:t>
            </a:r>
            <a:r>
              <a:rPr lang="pt-BR" sz="3600" dirty="0" err="1">
                <a:solidFill>
                  <a:srgbClr val="ED265B"/>
                </a:solidFill>
                <a:latin typeface="Gotham HTF Medium"/>
              </a:rPr>
              <a:t>Deep</a:t>
            </a:r>
            <a:r>
              <a:rPr lang="pt-BR" sz="3600" dirty="0">
                <a:solidFill>
                  <a:srgbClr val="ED265B"/>
                </a:solidFill>
                <a:latin typeface="Gotham HTF Medium"/>
              </a:rPr>
              <a:t> Learning – Introdução a Redes Neurais Artificiais e o Modelo </a:t>
            </a:r>
            <a:r>
              <a:rPr lang="pt-BR" sz="3600" dirty="0" err="1">
                <a:solidFill>
                  <a:srgbClr val="ED265B"/>
                </a:solidFill>
                <a:latin typeface="Gotham HTF Medium"/>
              </a:rPr>
              <a:t>Perceptron</a:t>
            </a:r>
            <a:endParaRPr lang="pt-BR" sz="3600" dirty="0">
              <a:solidFill>
                <a:srgbClr val="ED265B"/>
              </a:solidFill>
              <a:latin typeface="Gotham HTF Medium"/>
            </a:endParaRP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852913"/>
              </p:ext>
            </p:extLst>
          </p:nvPr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</a:t>
            </a:r>
          </a:p>
          <a:p>
            <a:pPr algn="ctr"/>
            <a:r>
              <a:rPr lang="pt-BR" dirty="0"/>
              <a:t>w2 = 0</a:t>
            </a:r>
          </a:p>
        </p:txBody>
      </p:sp>
    </p:spTree>
    <p:extLst>
      <p:ext uri="{BB962C8B-B14F-4D97-AF65-F5344CB8AC3E}">
        <p14:creationId xmlns:p14="http://schemas.microsoft.com/office/powerpoint/2010/main" val="321879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</a:t>
            </a:r>
          </a:p>
          <a:p>
            <a:pPr algn="ctr"/>
            <a:r>
              <a:rPr lang="pt-BR" dirty="0"/>
              <a:t>w2 = 0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4B1A2FD-0910-F508-C927-031051423D5C}"/>
              </a:ext>
            </a:extLst>
          </p:cNvPr>
          <p:cNvSpPr/>
          <p:nvPr/>
        </p:nvSpPr>
        <p:spPr>
          <a:xfrm>
            <a:off x="2813524" y="478260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CFD4053-0EDF-24FC-657B-A3EF1AD69D38}"/>
              </a:ext>
            </a:extLst>
          </p:cNvPr>
          <p:cNvCxnSpPr>
            <a:endCxn id="5" idx="1"/>
          </p:cNvCxnSpPr>
          <p:nvPr/>
        </p:nvCxnSpPr>
        <p:spPr>
          <a:xfrm>
            <a:off x="2195736" y="450912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FFD4BE93-7B90-2DEA-9DC4-721F5C84914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9215" y="539716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3E34BF2D-FEA1-8414-2C91-DBCDB32D2544}"/>
              </a:ext>
            </a:extLst>
          </p:cNvPr>
          <p:cNvCxnSpPr>
            <a:cxnSpLocks/>
            <a:stCxn id="5" idx="6"/>
            <a:endCxn id="12" idx="1"/>
          </p:cNvCxnSpPr>
          <p:nvPr/>
        </p:nvCxnSpPr>
        <p:spPr>
          <a:xfrm>
            <a:off x="3533524" y="514260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29777160-BA8A-E30E-9C35-E997F073C733}"/>
              </a:ext>
            </a:extLst>
          </p:cNvPr>
          <p:cNvSpPr/>
          <p:nvPr/>
        </p:nvSpPr>
        <p:spPr>
          <a:xfrm>
            <a:off x="5333644" y="478260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)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D66B1245-EAE8-3D23-3457-F53BD99FB6C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6444088" y="514260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F5EE6E-91F2-DAC7-1BAE-65A2945B8CAB}"/>
              </a:ext>
            </a:extLst>
          </p:cNvPr>
          <p:cNvSpPr txBox="1"/>
          <p:nvPr/>
        </p:nvSpPr>
        <p:spPr>
          <a:xfrm>
            <a:off x="1781944" y="429309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A953D62-BD13-CC01-59FF-5A42EDFABACE}"/>
              </a:ext>
            </a:extLst>
          </p:cNvPr>
          <p:cNvSpPr txBox="1"/>
          <p:nvPr/>
        </p:nvSpPr>
        <p:spPr>
          <a:xfrm>
            <a:off x="1763688" y="55799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268A306-3DF1-436B-CB18-297C930F9D93}"/>
              </a:ext>
            </a:extLst>
          </p:cNvPr>
          <p:cNvSpPr txBox="1"/>
          <p:nvPr/>
        </p:nvSpPr>
        <p:spPr>
          <a:xfrm>
            <a:off x="7326560" y="494116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A922CB7-BEC3-8587-2685-5EF34B3F19D9}"/>
              </a:ext>
            </a:extLst>
          </p:cNvPr>
          <p:cNvSpPr txBox="1"/>
          <p:nvPr/>
        </p:nvSpPr>
        <p:spPr>
          <a:xfrm>
            <a:off x="3821596" y="4643844"/>
            <a:ext cx="1110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*0 + 0*0</a:t>
            </a:r>
            <a:endParaRPr lang="pt-BR" dirty="0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814A903E-5AFE-C714-CAA0-F4DC8A8E581C}"/>
              </a:ext>
            </a:extLst>
          </p:cNvPr>
          <p:cNvSpPr/>
          <p:nvPr/>
        </p:nvSpPr>
        <p:spPr>
          <a:xfrm>
            <a:off x="323528" y="1965904"/>
            <a:ext cx="3672408" cy="504027"/>
          </a:xfrm>
          <a:prstGeom prst="rect">
            <a:avLst/>
          </a:prstGeom>
          <a:noFill/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99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</a:t>
            </a:r>
          </a:p>
          <a:p>
            <a:pPr algn="ctr"/>
            <a:r>
              <a:rPr lang="pt-BR" dirty="0"/>
              <a:t>w2 = 0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4B1A2FD-0910-F508-C927-031051423D5C}"/>
              </a:ext>
            </a:extLst>
          </p:cNvPr>
          <p:cNvSpPr/>
          <p:nvPr/>
        </p:nvSpPr>
        <p:spPr>
          <a:xfrm>
            <a:off x="2813524" y="478260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CFD4053-0EDF-24FC-657B-A3EF1AD69D38}"/>
              </a:ext>
            </a:extLst>
          </p:cNvPr>
          <p:cNvCxnSpPr>
            <a:endCxn id="5" idx="1"/>
          </p:cNvCxnSpPr>
          <p:nvPr/>
        </p:nvCxnSpPr>
        <p:spPr>
          <a:xfrm>
            <a:off x="2195736" y="450912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FFD4BE93-7B90-2DEA-9DC4-721F5C84914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9215" y="539716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3E34BF2D-FEA1-8414-2C91-DBCDB32D2544}"/>
              </a:ext>
            </a:extLst>
          </p:cNvPr>
          <p:cNvCxnSpPr>
            <a:cxnSpLocks/>
            <a:stCxn id="5" idx="6"/>
            <a:endCxn id="12" idx="1"/>
          </p:cNvCxnSpPr>
          <p:nvPr/>
        </p:nvCxnSpPr>
        <p:spPr>
          <a:xfrm>
            <a:off x="3533524" y="514260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29777160-BA8A-E30E-9C35-E997F073C733}"/>
              </a:ext>
            </a:extLst>
          </p:cNvPr>
          <p:cNvSpPr/>
          <p:nvPr/>
        </p:nvSpPr>
        <p:spPr>
          <a:xfrm>
            <a:off x="5333644" y="478260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)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D66B1245-EAE8-3D23-3457-F53BD99FB6C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6444088" y="514260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F5EE6E-91F2-DAC7-1BAE-65A2945B8CAB}"/>
              </a:ext>
            </a:extLst>
          </p:cNvPr>
          <p:cNvSpPr txBox="1"/>
          <p:nvPr/>
        </p:nvSpPr>
        <p:spPr>
          <a:xfrm>
            <a:off x="1781944" y="429309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A953D62-BD13-CC01-59FF-5A42EDFABACE}"/>
              </a:ext>
            </a:extLst>
          </p:cNvPr>
          <p:cNvSpPr txBox="1"/>
          <p:nvPr/>
        </p:nvSpPr>
        <p:spPr>
          <a:xfrm>
            <a:off x="1763688" y="55799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268A306-3DF1-436B-CB18-297C930F9D93}"/>
              </a:ext>
            </a:extLst>
          </p:cNvPr>
          <p:cNvSpPr txBox="1"/>
          <p:nvPr/>
        </p:nvSpPr>
        <p:spPr>
          <a:xfrm>
            <a:off x="7326560" y="494116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A922CB7-BEC3-8587-2685-5EF34B3F19D9}"/>
              </a:ext>
            </a:extLst>
          </p:cNvPr>
          <p:cNvSpPr txBox="1"/>
          <p:nvPr/>
        </p:nvSpPr>
        <p:spPr>
          <a:xfrm>
            <a:off x="3821596" y="4643844"/>
            <a:ext cx="1110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*0 + 1*0</a:t>
            </a:r>
            <a:endParaRPr lang="pt-BR" dirty="0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814A903E-5AFE-C714-CAA0-F4DC8A8E581C}"/>
              </a:ext>
            </a:extLst>
          </p:cNvPr>
          <p:cNvSpPr/>
          <p:nvPr/>
        </p:nvSpPr>
        <p:spPr>
          <a:xfrm>
            <a:off x="323528" y="2348909"/>
            <a:ext cx="3672408" cy="504027"/>
          </a:xfrm>
          <a:prstGeom prst="rect">
            <a:avLst/>
          </a:prstGeom>
          <a:noFill/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279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</a:t>
            </a:r>
          </a:p>
          <a:p>
            <a:pPr algn="ctr"/>
            <a:r>
              <a:rPr lang="pt-BR" dirty="0"/>
              <a:t>w2 = 0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4B1A2FD-0910-F508-C927-031051423D5C}"/>
              </a:ext>
            </a:extLst>
          </p:cNvPr>
          <p:cNvSpPr/>
          <p:nvPr/>
        </p:nvSpPr>
        <p:spPr>
          <a:xfrm>
            <a:off x="2813524" y="478260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CFD4053-0EDF-24FC-657B-A3EF1AD69D38}"/>
              </a:ext>
            </a:extLst>
          </p:cNvPr>
          <p:cNvCxnSpPr>
            <a:endCxn id="5" idx="1"/>
          </p:cNvCxnSpPr>
          <p:nvPr/>
        </p:nvCxnSpPr>
        <p:spPr>
          <a:xfrm>
            <a:off x="2195736" y="450912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FFD4BE93-7B90-2DEA-9DC4-721F5C84914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9215" y="539716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3E34BF2D-FEA1-8414-2C91-DBCDB32D2544}"/>
              </a:ext>
            </a:extLst>
          </p:cNvPr>
          <p:cNvCxnSpPr>
            <a:cxnSpLocks/>
            <a:stCxn id="5" idx="6"/>
            <a:endCxn id="12" idx="1"/>
          </p:cNvCxnSpPr>
          <p:nvPr/>
        </p:nvCxnSpPr>
        <p:spPr>
          <a:xfrm>
            <a:off x="3533524" y="514260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29777160-BA8A-E30E-9C35-E997F073C733}"/>
              </a:ext>
            </a:extLst>
          </p:cNvPr>
          <p:cNvSpPr/>
          <p:nvPr/>
        </p:nvSpPr>
        <p:spPr>
          <a:xfrm>
            <a:off x="5333644" y="478260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)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D66B1245-EAE8-3D23-3457-F53BD99FB6C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6444088" y="514260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F5EE6E-91F2-DAC7-1BAE-65A2945B8CAB}"/>
              </a:ext>
            </a:extLst>
          </p:cNvPr>
          <p:cNvSpPr txBox="1"/>
          <p:nvPr/>
        </p:nvSpPr>
        <p:spPr>
          <a:xfrm>
            <a:off x="1781944" y="429309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A953D62-BD13-CC01-59FF-5A42EDFABACE}"/>
              </a:ext>
            </a:extLst>
          </p:cNvPr>
          <p:cNvSpPr txBox="1"/>
          <p:nvPr/>
        </p:nvSpPr>
        <p:spPr>
          <a:xfrm>
            <a:off x="1763688" y="55799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268A306-3DF1-436B-CB18-297C930F9D93}"/>
              </a:ext>
            </a:extLst>
          </p:cNvPr>
          <p:cNvSpPr txBox="1"/>
          <p:nvPr/>
        </p:nvSpPr>
        <p:spPr>
          <a:xfrm>
            <a:off x="7326560" y="494116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A922CB7-BEC3-8587-2685-5EF34B3F19D9}"/>
              </a:ext>
            </a:extLst>
          </p:cNvPr>
          <p:cNvSpPr txBox="1"/>
          <p:nvPr/>
        </p:nvSpPr>
        <p:spPr>
          <a:xfrm>
            <a:off x="3821596" y="4643844"/>
            <a:ext cx="1110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1</a:t>
            </a:r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*0 + 0*0</a:t>
            </a:r>
            <a:endParaRPr lang="pt-BR" dirty="0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814A903E-5AFE-C714-CAA0-F4DC8A8E581C}"/>
              </a:ext>
            </a:extLst>
          </p:cNvPr>
          <p:cNvSpPr/>
          <p:nvPr/>
        </p:nvSpPr>
        <p:spPr>
          <a:xfrm>
            <a:off x="323528" y="2708949"/>
            <a:ext cx="3672408" cy="504027"/>
          </a:xfrm>
          <a:prstGeom prst="rect">
            <a:avLst/>
          </a:prstGeom>
          <a:noFill/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626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</a:t>
            </a:r>
          </a:p>
          <a:p>
            <a:pPr algn="ctr"/>
            <a:r>
              <a:rPr lang="pt-BR" dirty="0"/>
              <a:t>w2 = 0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4B1A2FD-0910-F508-C927-031051423D5C}"/>
              </a:ext>
            </a:extLst>
          </p:cNvPr>
          <p:cNvSpPr/>
          <p:nvPr/>
        </p:nvSpPr>
        <p:spPr>
          <a:xfrm>
            <a:off x="2813524" y="478260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CFD4053-0EDF-24FC-657B-A3EF1AD69D38}"/>
              </a:ext>
            </a:extLst>
          </p:cNvPr>
          <p:cNvCxnSpPr>
            <a:endCxn id="5" idx="1"/>
          </p:cNvCxnSpPr>
          <p:nvPr/>
        </p:nvCxnSpPr>
        <p:spPr>
          <a:xfrm>
            <a:off x="2195736" y="450912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FFD4BE93-7B90-2DEA-9DC4-721F5C84914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9215" y="539716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3E34BF2D-FEA1-8414-2C91-DBCDB32D2544}"/>
              </a:ext>
            </a:extLst>
          </p:cNvPr>
          <p:cNvCxnSpPr>
            <a:cxnSpLocks/>
            <a:stCxn id="5" idx="6"/>
            <a:endCxn id="12" idx="1"/>
          </p:cNvCxnSpPr>
          <p:nvPr/>
        </p:nvCxnSpPr>
        <p:spPr>
          <a:xfrm>
            <a:off x="3533524" y="514260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29777160-BA8A-E30E-9C35-E997F073C733}"/>
              </a:ext>
            </a:extLst>
          </p:cNvPr>
          <p:cNvSpPr/>
          <p:nvPr/>
        </p:nvSpPr>
        <p:spPr>
          <a:xfrm>
            <a:off x="5333644" y="478260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)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D66B1245-EAE8-3D23-3457-F53BD99FB6C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6444088" y="514260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F5EE6E-91F2-DAC7-1BAE-65A2945B8CAB}"/>
              </a:ext>
            </a:extLst>
          </p:cNvPr>
          <p:cNvSpPr txBox="1"/>
          <p:nvPr/>
        </p:nvSpPr>
        <p:spPr>
          <a:xfrm>
            <a:off x="1781944" y="429309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A953D62-BD13-CC01-59FF-5A42EDFABACE}"/>
              </a:ext>
            </a:extLst>
          </p:cNvPr>
          <p:cNvSpPr txBox="1"/>
          <p:nvPr/>
        </p:nvSpPr>
        <p:spPr>
          <a:xfrm>
            <a:off x="1763688" y="55799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268A306-3DF1-436B-CB18-297C930F9D93}"/>
              </a:ext>
            </a:extLst>
          </p:cNvPr>
          <p:cNvSpPr txBox="1"/>
          <p:nvPr/>
        </p:nvSpPr>
        <p:spPr>
          <a:xfrm>
            <a:off x="7326560" y="494116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A922CB7-BEC3-8587-2685-5EF34B3F19D9}"/>
              </a:ext>
            </a:extLst>
          </p:cNvPr>
          <p:cNvSpPr txBox="1"/>
          <p:nvPr/>
        </p:nvSpPr>
        <p:spPr>
          <a:xfrm>
            <a:off x="3821596" y="4643844"/>
            <a:ext cx="11104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1</a:t>
            </a:r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*0 + 1*0</a:t>
            </a:r>
            <a:endParaRPr lang="pt-BR" dirty="0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814A903E-5AFE-C714-CAA0-F4DC8A8E581C}"/>
              </a:ext>
            </a:extLst>
          </p:cNvPr>
          <p:cNvSpPr/>
          <p:nvPr/>
        </p:nvSpPr>
        <p:spPr>
          <a:xfrm>
            <a:off x="323528" y="3068989"/>
            <a:ext cx="3672408" cy="504027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669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pSp>
        <p:nvGrpSpPr>
          <p:cNvPr id="79" name="Agrupar 78">
            <a:extLst>
              <a:ext uri="{FF2B5EF4-FFF2-40B4-BE49-F238E27FC236}">
                <a16:creationId xmlns:a16="http://schemas.microsoft.com/office/drawing/2014/main" id="{EA56D2C2-BB27-C5BF-7575-97E68F5DAF1E}"/>
              </a:ext>
            </a:extLst>
          </p:cNvPr>
          <p:cNvGrpSpPr/>
          <p:nvPr/>
        </p:nvGrpSpPr>
        <p:grpSpPr>
          <a:xfrm>
            <a:off x="35496" y="1858888"/>
            <a:ext cx="9108504" cy="3802360"/>
            <a:chOff x="35496" y="1858888"/>
            <a:chExt cx="9108504" cy="3802360"/>
          </a:xfrm>
        </p:grpSpPr>
        <p:sp>
          <p:nvSpPr>
            <p:cNvPr id="43" name="Elipse 42">
              <a:extLst>
                <a:ext uri="{FF2B5EF4-FFF2-40B4-BE49-F238E27FC236}">
                  <a16:creationId xmlns:a16="http://schemas.microsoft.com/office/drawing/2014/main" id="{E2F25EDB-4FD1-3348-A2C1-9FCA943BFDCD}"/>
                </a:ext>
              </a:extLst>
            </p:cNvPr>
            <p:cNvSpPr/>
            <p:nvPr/>
          </p:nvSpPr>
          <p:spPr>
            <a:xfrm>
              <a:off x="1539061" y="2417733"/>
              <a:ext cx="1618289" cy="1601322"/>
            </a:xfrm>
            <a:prstGeom prst="ellipse">
              <a:avLst/>
            </a:prstGeom>
            <a:solidFill>
              <a:srgbClr val="ED265B"/>
            </a:solidFill>
            <a:ln>
              <a:solidFill>
                <a:srgbClr val="ED145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4000" dirty="0"/>
                <a:t>Ʃ</a:t>
              </a:r>
            </a:p>
          </p:txBody>
        </p:sp>
        <p:cxnSp>
          <p:nvCxnSpPr>
            <p:cNvPr id="44" name="Conector de Seta Reta 43">
              <a:extLst>
                <a:ext uri="{FF2B5EF4-FFF2-40B4-BE49-F238E27FC236}">
                  <a16:creationId xmlns:a16="http://schemas.microsoft.com/office/drawing/2014/main" id="{AB11F464-6651-E3E8-2B29-0C7C7458CBBD}"/>
                </a:ext>
              </a:extLst>
            </p:cNvPr>
            <p:cNvCxnSpPr>
              <a:cxnSpLocks/>
            </p:cNvCxnSpPr>
            <p:nvPr/>
          </p:nvCxnSpPr>
          <p:spPr>
            <a:xfrm>
              <a:off x="352316" y="3218394"/>
              <a:ext cx="1186745" cy="0"/>
            </a:xfrm>
            <a:prstGeom prst="straightConnector1">
              <a:avLst/>
            </a:prstGeom>
            <a:ln w="76200">
              <a:solidFill>
                <a:srgbClr val="ED145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de Seta Reta 44">
              <a:extLst>
                <a:ext uri="{FF2B5EF4-FFF2-40B4-BE49-F238E27FC236}">
                  <a16:creationId xmlns:a16="http://schemas.microsoft.com/office/drawing/2014/main" id="{8C6AAB04-6D89-3C30-AC7C-D68C33F8DFAD}"/>
                </a:ext>
              </a:extLst>
            </p:cNvPr>
            <p:cNvCxnSpPr>
              <a:cxnSpLocks/>
              <a:endCxn id="43" idx="3"/>
            </p:cNvCxnSpPr>
            <p:nvPr/>
          </p:nvCxnSpPr>
          <p:spPr>
            <a:xfrm flipV="1">
              <a:off x="999631" y="3784547"/>
              <a:ext cx="776423" cy="768431"/>
            </a:xfrm>
            <a:prstGeom prst="straightConnector1">
              <a:avLst/>
            </a:prstGeom>
            <a:ln w="76200">
              <a:solidFill>
                <a:srgbClr val="ED145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ector de Seta Reta 45">
              <a:extLst>
                <a:ext uri="{FF2B5EF4-FFF2-40B4-BE49-F238E27FC236}">
                  <a16:creationId xmlns:a16="http://schemas.microsoft.com/office/drawing/2014/main" id="{5FF4060E-E930-96AA-C828-FE615A1824F6}"/>
                </a:ext>
              </a:extLst>
            </p:cNvPr>
            <p:cNvCxnSpPr>
              <a:cxnSpLocks/>
              <a:endCxn id="43" idx="1"/>
            </p:cNvCxnSpPr>
            <p:nvPr/>
          </p:nvCxnSpPr>
          <p:spPr>
            <a:xfrm>
              <a:off x="614560" y="2043961"/>
              <a:ext cx="1161494" cy="608280"/>
            </a:xfrm>
            <a:prstGeom prst="straightConnector1">
              <a:avLst/>
            </a:prstGeom>
            <a:ln w="76200">
              <a:solidFill>
                <a:srgbClr val="ED145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de Seta Reta 46">
              <a:extLst>
                <a:ext uri="{FF2B5EF4-FFF2-40B4-BE49-F238E27FC236}">
                  <a16:creationId xmlns:a16="http://schemas.microsoft.com/office/drawing/2014/main" id="{1510B54C-8DB9-6EA0-4F3D-E7028FF55699}"/>
                </a:ext>
              </a:extLst>
            </p:cNvPr>
            <p:cNvCxnSpPr>
              <a:cxnSpLocks/>
            </p:cNvCxnSpPr>
            <p:nvPr/>
          </p:nvCxnSpPr>
          <p:spPr>
            <a:xfrm>
              <a:off x="3157350" y="3218394"/>
              <a:ext cx="836132" cy="1"/>
            </a:xfrm>
            <a:prstGeom prst="straightConnector1">
              <a:avLst/>
            </a:prstGeom>
            <a:ln w="76200">
              <a:solidFill>
                <a:srgbClr val="ED145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E5A683E5-D3E5-048A-0F18-DD03B2C42D61}"/>
                </a:ext>
              </a:extLst>
            </p:cNvPr>
            <p:cNvSpPr/>
            <p:nvPr/>
          </p:nvSpPr>
          <p:spPr>
            <a:xfrm>
              <a:off x="3993482" y="2844711"/>
              <a:ext cx="1456460" cy="747367"/>
            </a:xfrm>
            <a:prstGeom prst="rect">
              <a:avLst/>
            </a:prstGeom>
            <a:solidFill>
              <a:srgbClr val="ED265B"/>
            </a:solidFill>
            <a:ln>
              <a:solidFill>
                <a:srgbClr val="ED145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600" dirty="0"/>
                <a:t>f(</a:t>
              </a:r>
              <a:r>
                <a:rPr lang="pt-BR" sz="2600" dirty="0" err="1"/>
                <a:t>u+b</a:t>
              </a:r>
              <a:r>
                <a:rPr lang="pt-BR" sz="2600" dirty="0"/>
                <a:t>)</a:t>
              </a:r>
            </a:p>
          </p:txBody>
        </p:sp>
        <p:cxnSp>
          <p:nvCxnSpPr>
            <p:cNvPr id="49" name="Conector de Seta Reta 48">
              <a:extLst>
                <a:ext uri="{FF2B5EF4-FFF2-40B4-BE49-F238E27FC236}">
                  <a16:creationId xmlns:a16="http://schemas.microsoft.com/office/drawing/2014/main" id="{A8663B98-8A34-75B4-62A1-EB223A5A8D23}"/>
                </a:ext>
              </a:extLst>
            </p:cNvPr>
            <p:cNvCxnSpPr>
              <a:cxnSpLocks/>
            </p:cNvCxnSpPr>
            <p:nvPr/>
          </p:nvCxnSpPr>
          <p:spPr>
            <a:xfrm>
              <a:off x="5449942" y="3207262"/>
              <a:ext cx="812385" cy="0"/>
            </a:xfrm>
            <a:prstGeom prst="straightConnector1">
              <a:avLst/>
            </a:prstGeom>
            <a:ln w="76200">
              <a:solidFill>
                <a:srgbClr val="ED145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CaixaDeTexto 49">
              <a:extLst>
                <a:ext uri="{FF2B5EF4-FFF2-40B4-BE49-F238E27FC236}">
                  <a16:creationId xmlns:a16="http://schemas.microsoft.com/office/drawing/2014/main" id="{28BD94F4-2C97-10D6-217A-D94AE781054C}"/>
                </a:ext>
              </a:extLst>
            </p:cNvPr>
            <p:cNvSpPr txBox="1"/>
            <p:nvPr/>
          </p:nvSpPr>
          <p:spPr>
            <a:xfrm>
              <a:off x="189855" y="1858888"/>
              <a:ext cx="424706" cy="2739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  <a:cs typeface="Gotham HTF Light"/>
                </a:rPr>
                <a:t>In1</a:t>
              </a:r>
              <a:endParaRPr lang="pt-BR" sz="1400" dirty="0"/>
            </a:p>
          </p:txBody>
        </p:sp>
        <p:sp>
          <p:nvSpPr>
            <p:cNvPr id="51" name="CaixaDeTexto 50">
              <a:extLst>
                <a:ext uri="{FF2B5EF4-FFF2-40B4-BE49-F238E27FC236}">
                  <a16:creationId xmlns:a16="http://schemas.microsoft.com/office/drawing/2014/main" id="{D7ECBFFB-A12C-5334-BB04-776EE3B943B3}"/>
                </a:ext>
              </a:extLst>
            </p:cNvPr>
            <p:cNvSpPr txBox="1"/>
            <p:nvPr/>
          </p:nvSpPr>
          <p:spPr>
            <a:xfrm>
              <a:off x="35496" y="3011016"/>
              <a:ext cx="424706" cy="2739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  <a:cs typeface="Gotham HTF Light"/>
                </a:rPr>
                <a:t>In2</a:t>
              </a:r>
              <a:endParaRPr lang="pt-BR" sz="1400" dirty="0"/>
            </a:p>
          </p:txBody>
        </p:sp>
        <p:sp>
          <p:nvSpPr>
            <p:cNvPr id="52" name="CaixaDeTexto 51">
              <a:extLst>
                <a:ext uri="{FF2B5EF4-FFF2-40B4-BE49-F238E27FC236}">
                  <a16:creationId xmlns:a16="http://schemas.microsoft.com/office/drawing/2014/main" id="{A860AAE3-FF83-E83C-5D85-F640343CB223}"/>
                </a:ext>
              </a:extLst>
            </p:cNvPr>
            <p:cNvSpPr txBox="1"/>
            <p:nvPr/>
          </p:nvSpPr>
          <p:spPr>
            <a:xfrm>
              <a:off x="690910" y="4492795"/>
              <a:ext cx="424706" cy="2739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  <a:cs typeface="Gotham HTF Light"/>
                </a:rPr>
                <a:t>In3</a:t>
              </a:r>
              <a:endParaRPr lang="pt-BR" sz="1400" dirty="0"/>
            </a:p>
          </p:txBody>
        </p:sp>
        <p:sp>
          <p:nvSpPr>
            <p:cNvPr id="53" name="CaixaDeTexto 52">
              <a:extLst>
                <a:ext uri="{FF2B5EF4-FFF2-40B4-BE49-F238E27FC236}">
                  <a16:creationId xmlns:a16="http://schemas.microsoft.com/office/drawing/2014/main" id="{A2D703F5-2893-3150-3F39-D06F95D56373}"/>
                </a:ext>
              </a:extLst>
            </p:cNvPr>
            <p:cNvSpPr txBox="1"/>
            <p:nvPr/>
          </p:nvSpPr>
          <p:spPr>
            <a:xfrm>
              <a:off x="1183446" y="2074912"/>
              <a:ext cx="424706" cy="2739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  <a:cs typeface="Gotham HTF Light"/>
                </a:rPr>
                <a:t>w1</a:t>
              </a:r>
              <a:endParaRPr lang="pt-BR" sz="1400" dirty="0"/>
            </a:p>
          </p:txBody>
        </p:sp>
        <p:sp>
          <p:nvSpPr>
            <p:cNvPr id="54" name="CaixaDeTexto 53">
              <a:extLst>
                <a:ext uri="{FF2B5EF4-FFF2-40B4-BE49-F238E27FC236}">
                  <a16:creationId xmlns:a16="http://schemas.microsoft.com/office/drawing/2014/main" id="{FB764277-6154-DDF2-9B53-1B1030C3A88F}"/>
                </a:ext>
              </a:extLst>
            </p:cNvPr>
            <p:cNvSpPr txBox="1"/>
            <p:nvPr/>
          </p:nvSpPr>
          <p:spPr>
            <a:xfrm>
              <a:off x="899592" y="2924944"/>
              <a:ext cx="424706" cy="2739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  <a:cs typeface="Gotham HTF Light"/>
                </a:rPr>
                <a:t>w2</a:t>
              </a:r>
              <a:endParaRPr lang="pt-BR" sz="1400" dirty="0"/>
            </a:p>
          </p:txBody>
        </p:sp>
        <p:sp>
          <p:nvSpPr>
            <p:cNvPr id="55" name="CaixaDeTexto 54">
              <a:extLst>
                <a:ext uri="{FF2B5EF4-FFF2-40B4-BE49-F238E27FC236}">
                  <a16:creationId xmlns:a16="http://schemas.microsoft.com/office/drawing/2014/main" id="{BAADE2D9-3422-7E8E-647D-5AA3BC52AE99}"/>
                </a:ext>
              </a:extLst>
            </p:cNvPr>
            <p:cNvSpPr txBox="1"/>
            <p:nvPr/>
          </p:nvSpPr>
          <p:spPr>
            <a:xfrm>
              <a:off x="1122958" y="3775994"/>
              <a:ext cx="424706" cy="2739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  <a:cs typeface="Gotham HTF Light"/>
                </a:rPr>
                <a:t>w3</a:t>
              </a:r>
              <a:endParaRPr lang="pt-BR" sz="1400" dirty="0"/>
            </a:p>
          </p:txBody>
        </p:sp>
        <p:sp>
          <p:nvSpPr>
            <p:cNvPr id="56" name="CaixaDeTexto 55">
              <a:extLst>
                <a:ext uri="{FF2B5EF4-FFF2-40B4-BE49-F238E27FC236}">
                  <a16:creationId xmlns:a16="http://schemas.microsoft.com/office/drawing/2014/main" id="{4B96A37F-A4AD-D091-9E3D-1EF3FF4F0787}"/>
                </a:ext>
              </a:extLst>
            </p:cNvPr>
            <p:cNvSpPr txBox="1"/>
            <p:nvPr/>
          </p:nvSpPr>
          <p:spPr>
            <a:xfrm>
              <a:off x="3379960" y="2867000"/>
              <a:ext cx="424706" cy="2739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</a:rPr>
                <a:t>u</a:t>
              </a:r>
              <a:endParaRPr lang="pt-BR" sz="1400" dirty="0"/>
            </a:p>
          </p:txBody>
        </p:sp>
        <p:sp>
          <p:nvSpPr>
            <p:cNvPr id="57" name="CaixaDeTexto 56">
              <a:extLst>
                <a:ext uri="{FF2B5EF4-FFF2-40B4-BE49-F238E27FC236}">
                  <a16:creationId xmlns:a16="http://schemas.microsoft.com/office/drawing/2014/main" id="{EF7C15EE-C9A0-043F-5A6B-E0A01A7D305B}"/>
                </a:ext>
              </a:extLst>
            </p:cNvPr>
            <p:cNvSpPr txBox="1"/>
            <p:nvPr/>
          </p:nvSpPr>
          <p:spPr>
            <a:xfrm>
              <a:off x="5580112" y="2867000"/>
              <a:ext cx="586535" cy="2739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</a:rPr>
                <a:t>Out</a:t>
              </a:r>
              <a:endParaRPr lang="pt-BR" sz="1400" dirty="0"/>
            </a:p>
          </p:txBody>
        </p:sp>
        <p:cxnSp>
          <p:nvCxnSpPr>
            <p:cNvPr id="58" name="Conector de Seta Reta 57">
              <a:extLst>
                <a:ext uri="{FF2B5EF4-FFF2-40B4-BE49-F238E27FC236}">
                  <a16:creationId xmlns:a16="http://schemas.microsoft.com/office/drawing/2014/main" id="{AB7E529A-1302-50F0-AFA2-1852D710FF17}"/>
                </a:ext>
              </a:extLst>
            </p:cNvPr>
            <p:cNvCxnSpPr>
              <a:cxnSpLocks/>
              <a:endCxn id="48" idx="2"/>
            </p:cNvCxnSpPr>
            <p:nvPr/>
          </p:nvCxnSpPr>
          <p:spPr>
            <a:xfrm flipH="1" flipV="1">
              <a:off x="4721712" y="3592078"/>
              <a:ext cx="1" cy="576684"/>
            </a:xfrm>
            <a:prstGeom prst="straightConnector1">
              <a:avLst/>
            </a:prstGeom>
            <a:ln w="76200">
              <a:solidFill>
                <a:srgbClr val="ED145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CaixaDeTexto 58">
              <a:extLst>
                <a:ext uri="{FF2B5EF4-FFF2-40B4-BE49-F238E27FC236}">
                  <a16:creationId xmlns:a16="http://schemas.microsoft.com/office/drawing/2014/main" id="{0254D519-3998-9A6D-7B1C-BEE9E3DCDAA4}"/>
                </a:ext>
              </a:extLst>
            </p:cNvPr>
            <p:cNvSpPr txBox="1"/>
            <p:nvPr/>
          </p:nvSpPr>
          <p:spPr>
            <a:xfrm>
              <a:off x="4559865" y="4149080"/>
              <a:ext cx="424706" cy="2739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</a:rPr>
                <a:t>b</a:t>
              </a:r>
              <a:endParaRPr lang="pt-BR" sz="1400" dirty="0"/>
            </a:p>
          </p:txBody>
        </p:sp>
        <p:sp>
          <p:nvSpPr>
            <p:cNvPr id="61" name="Fluxograma: Decisão 60">
              <a:extLst>
                <a:ext uri="{FF2B5EF4-FFF2-40B4-BE49-F238E27FC236}">
                  <a16:creationId xmlns:a16="http://schemas.microsoft.com/office/drawing/2014/main" id="{42FA4A92-2394-B551-4ED4-5E260633588D}"/>
                </a:ext>
              </a:extLst>
            </p:cNvPr>
            <p:cNvSpPr/>
            <p:nvPr/>
          </p:nvSpPr>
          <p:spPr>
            <a:xfrm>
              <a:off x="6262327" y="2739447"/>
              <a:ext cx="1283084" cy="957895"/>
            </a:xfrm>
            <a:prstGeom prst="flowChartDecision">
              <a:avLst/>
            </a:prstGeom>
            <a:solidFill>
              <a:srgbClr val="ED145B"/>
            </a:solidFill>
            <a:ln>
              <a:solidFill>
                <a:srgbClr val="ED265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Erro?</a:t>
              </a:r>
            </a:p>
          </p:txBody>
        </p:sp>
        <p:sp>
          <p:nvSpPr>
            <p:cNvPr id="64" name="Retângulo 63">
              <a:extLst>
                <a:ext uri="{FF2B5EF4-FFF2-40B4-BE49-F238E27FC236}">
                  <a16:creationId xmlns:a16="http://schemas.microsoft.com/office/drawing/2014/main" id="{63CDA318-361D-F1C4-BC9D-F86A1B1520FF}"/>
                </a:ext>
              </a:extLst>
            </p:cNvPr>
            <p:cNvSpPr/>
            <p:nvPr/>
          </p:nvSpPr>
          <p:spPr>
            <a:xfrm>
              <a:off x="4043989" y="4913882"/>
              <a:ext cx="1456460" cy="747366"/>
            </a:xfrm>
            <a:prstGeom prst="rect">
              <a:avLst/>
            </a:prstGeom>
            <a:solidFill>
              <a:srgbClr val="ED265B"/>
            </a:solidFill>
            <a:ln>
              <a:solidFill>
                <a:srgbClr val="ED145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600" dirty="0"/>
                <a:t>Atualiza os pesos</a:t>
              </a:r>
            </a:p>
          </p:txBody>
        </p:sp>
        <p:cxnSp>
          <p:nvCxnSpPr>
            <p:cNvPr id="67" name="Conector: Angulado 66">
              <a:extLst>
                <a:ext uri="{FF2B5EF4-FFF2-40B4-BE49-F238E27FC236}">
                  <a16:creationId xmlns:a16="http://schemas.microsoft.com/office/drawing/2014/main" id="{8881A148-F1E9-4551-7692-8FBD372BD545}"/>
                </a:ext>
              </a:extLst>
            </p:cNvPr>
            <p:cNvCxnSpPr>
              <a:stCxn id="61" idx="2"/>
              <a:endCxn id="64" idx="3"/>
            </p:cNvCxnSpPr>
            <p:nvPr/>
          </p:nvCxnSpPr>
          <p:spPr>
            <a:xfrm rot="5400000">
              <a:off x="5407048" y="3790743"/>
              <a:ext cx="1590223" cy="1403420"/>
            </a:xfrm>
            <a:prstGeom prst="bentConnector2">
              <a:avLst/>
            </a:prstGeom>
            <a:ln w="76200">
              <a:solidFill>
                <a:srgbClr val="ED265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: Angulado 68">
              <a:extLst>
                <a:ext uri="{FF2B5EF4-FFF2-40B4-BE49-F238E27FC236}">
                  <a16:creationId xmlns:a16="http://schemas.microsoft.com/office/drawing/2014/main" id="{35FE2266-5088-61CF-E7BE-3BFBCE0A0B8F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608152" y="4392740"/>
              <a:ext cx="2385331" cy="999639"/>
            </a:xfrm>
            <a:prstGeom prst="bentConnector3">
              <a:avLst>
                <a:gd name="adj1" fmla="val 100151"/>
              </a:avLst>
            </a:prstGeom>
            <a:ln w="76200">
              <a:solidFill>
                <a:srgbClr val="ED265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CaixaDeTexto 71">
              <a:extLst>
                <a:ext uri="{FF2B5EF4-FFF2-40B4-BE49-F238E27FC236}">
                  <a16:creationId xmlns:a16="http://schemas.microsoft.com/office/drawing/2014/main" id="{F960011B-B94F-B750-4B4D-7A560209F9B5}"/>
                </a:ext>
              </a:extLst>
            </p:cNvPr>
            <p:cNvSpPr txBox="1"/>
            <p:nvPr/>
          </p:nvSpPr>
          <p:spPr>
            <a:xfrm>
              <a:off x="6433737" y="3789040"/>
              <a:ext cx="586535" cy="2739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Gotham HTF Light"/>
                </a:rPr>
                <a:t>Sim</a:t>
              </a:r>
              <a:endParaRPr lang="pt-BR" sz="1400" dirty="0"/>
            </a:p>
          </p:txBody>
        </p:sp>
        <p:cxnSp>
          <p:nvCxnSpPr>
            <p:cNvPr id="73" name="Conector de Seta Reta 72">
              <a:extLst>
                <a:ext uri="{FF2B5EF4-FFF2-40B4-BE49-F238E27FC236}">
                  <a16:creationId xmlns:a16="http://schemas.microsoft.com/office/drawing/2014/main" id="{B4469ADF-5F35-DE3C-C608-E5F047D813F1}"/>
                </a:ext>
              </a:extLst>
            </p:cNvPr>
            <p:cNvCxnSpPr>
              <a:cxnSpLocks/>
            </p:cNvCxnSpPr>
            <p:nvPr/>
          </p:nvCxnSpPr>
          <p:spPr>
            <a:xfrm>
              <a:off x="7545410" y="3218394"/>
              <a:ext cx="761878" cy="0"/>
            </a:xfrm>
            <a:prstGeom prst="straightConnector1">
              <a:avLst/>
            </a:prstGeom>
            <a:ln w="76200">
              <a:solidFill>
                <a:srgbClr val="ED145B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CaixaDeTexto 75">
              <a:extLst>
                <a:ext uri="{FF2B5EF4-FFF2-40B4-BE49-F238E27FC236}">
                  <a16:creationId xmlns:a16="http://schemas.microsoft.com/office/drawing/2014/main" id="{64E019B1-70F8-6B71-C57C-52108AD3F0F6}"/>
                </a:ext>
              </a:extLst>
            </p:cNvPr>
            <p:cNvSpPr txBox="1"/>
            <p:nvPr/>
          </p:nvSpPr>
          <p:spPr>
            <a:xfrm>
              <a:off x="7568484" y="2868758"/>
              <a:ext cx="586535" cy="27396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 err="1">
                  <a:latin typeface="Gotham HTF Light"/>
                </a:rPr>
                <a:t>Não</a:t>
              </a:r>
              <a:endParaRPr lang="pt-BR" sz="1400" dirty="0"/>
            </a:p>
          </p:txBody>
        </p:sp>
        <p:sp>
          <p:nvSpPr>
            <p:cNvPr id="78" name="Elipse 77">
              <a:extLst>
                <a:ext uri="{FF2B5EF4-FFF2-40B4-BE49-F238E27FC236}">
                  <a16:creationId xmlns:a16="http://schemas.microsoft.com/office/drawing/2014/main" id="{62F72C19-29AA-12FB-25FB-805DF3E746A8}"/>
                </a:ext>
              </a:extLst>
            </p:cNvPr>
            <p:cNvSpPr/>
            <p:nvPr/>
          </p:nvSpPr>
          <p:spPr>
            <a:xfrm>
              <a:off x="8307288" y="2856594"/>
              <a:ext cx="836712" cy="723599"/>
            </a:xfrm>
            <a:prstGeom prst="ellipse">
              <a:avLst/>
            </a:prstGeom>
            <a:solidFill>
              <a:srgbClr val="ED145B"/>
            </a:solidFill>
            <a:ln>
              <a:solidFill>
                <a:srgbClr val="ED265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Fi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8059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Calculado o Erro e atualizando os pesos</a:t>
            </a: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B321DCEB-4B35-4334-0B34-EEC8753EC74E}"/>
              </a:ext>
            </a:extLst>
          </p:cNvPr>
          <p:cNvGrpSpPr/>
          <p:nvPr/>
        </p:nvGrpSpPr>
        <p:grpSpPr>
          <a:xfrm>
            <a:off x="2864987" y="2610643"/>
            <a:ext cx="3414026" cy="2356795"/>
            <a:chOff x="2813074" y="2944413"/>
            <a:chExt cx="3414026" cy="2356795"/>
          </a:xfrm>
        </p:grpSpPr>
        <p:sp>
          <p:nvSpPr>
            <p:cNvPr id="2" name="Freeform 18">
              <a:extLst>
                <a:ext uri="{FF2B5EF4-FFF2-40B4-BE49-F238E27FC236}">
                  <a16:creationId xmlns:a16="http://schemas.microsoft.com/office/drawing/2014/main" id="{E05A0F76-A374-FA50-94E5-F64578101C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74266" y="2944413"/>
              <a:ext cx="2552834" cy="1439760"/>
            </a:xfrm>
            <a:custGeom>
              <a:avLst/>
              <a:gdLst>
                <a:gd name="connsiteX0" fmla="*/ 0 w 3403779"/>
                <a:gd name="connsiteY0" fmla="*/ 1547498 h 1919680"/>
                <a:gd name="connsiteX1" fmla="*/ 5722 w 3403779"/>
                <a:gd name="connsiteY1" fmla="*/ 1617854 h 1919680"/>
                <a:gd name="connsiteX2" fmla="*/ 11048 w 3403779"/>
                <a:gd name="connsiteY2" fmla="*/ 1639521 h 1919680"/>
                <a:gd name="connsiteX3" fmla="*/ 4647 w 3403779"/>
                <a:gd name="connsiteY3" fmla="*/ 1639521 h 1919680"/>
                <a:gd name="connsiteX4" fmla="*/ 1547498 w 3403779"/>
                <a:gd name="connsiteY4" fmla="*/ 0 h 1919680"/>
                <a:gd name="connsiteX5" fmla="*/ 3087007 w 3403779"/>
                <a:gd name="connsiteY5" fmla="*/ 1389275 h 1919680"/>
                <a:gd name="connsiteX6" fmla="*/ 3088818 w 3403779"/>
                <a:gd name="connsiteY6" fmla="*/ 1425152 h 1919680"/>
                <a:gd name="connsiteX7" fmla="*/ 3403779 w 3403779"/>
                <a:gd name="connsiteY7" fmla="*/ 1425152 h 1919680"/>
                <a:gd name="connsiteX8" fmla="*/ 3090819 w 3403779"/>
                <a:gd name="connsiteY8" fmla="*/ 1630212 h 1919680"/>
                <a:gd name="connsiteX9" fmla="*/ 3090349 w 3403779"/>
                <a:gd name="connsiteY9" fmla="*/ 1639521 h 1919680"/>
                <a:gd name="connsiteX10" fmla="*/ 3076612 w 3403779"/>
                <a:gd name="connsiteY10" fmla="*/ 1639521 h 1919680"/>
                <a:gd name="connsiteX11" fmla="*/ 2649036 w 3403779"/>
                <a:gd name="connsiteY11" fmla="*/ 1919680 h 1919680"/>
                <a:gd name="connsiteX12" fmla="*/ 2221461 w 3403779"/>
                <a:gd name="connsiteY12" fmla="*/ 1639521 h 1919680"/>
                <a:gd name="connsiteX13" fmla="*/ 2205387 w 3403779"/>
                <a:gd name="connsiteY13" fmla="*/ 1639521 h 1919680"/>
                <a:gd name="connsiteX14" fmla="*/ 2207617 w 3403779"/>
                <a:gd name="connsiteY14" fmla="*/ 1630450 h 1919680"/>
                <a:gd name="connsiteX15" fmla="*/ 1894293 w 3403779"/>
                <a:gd name="connsiteY15" fmla="*/ 1425152 h 1919680"/>
                <a:gd name="connsiteX16" fmla="*/ 2196571 w 3403779"/>
                <a:gd name="connsiteY16" fmla="*/ 1425152 h 1919680"/>
                <a:gd name="connsiteX17" fmla="*/ 2193919 w 3403779"/>
                <a:gd name="connsiteY17" fmla="*/ 1408819 h 1919680"/>
                <a:gd name="connsiteX18" fmla="*/ 1108217 w 3403779"/>
                <a:gd name="connsiteY18" fmla="*/ 859382 h 1919680"/>
                <a:gd name="connsiteX19" fmla="*/ 0 w 3403779"/>
                <a:gd name="connsiteY19" fmla="*/ 1547498 h 1919680"/>
                <a:gd name="connsiteX20" fmla="*/ 1547498 w 3403779"/>
                <a:gd name="connsiteY20" fmla="*/ 0 h 191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03779" h="1919680">
                  <a:moveTo>
                    <a:pt x="0" y="1547498"/>
                  </a:moveTo>
                  <a:cubicBezTo>
                    <a:pt x="0" y="1571250"/>
                    <a:pt x="1938" y="1594722"/>
                    <a:pt x="5722" y="1617854"/>
                  </a:cubicBezTo>
                  <a:lnTo>
                    <a:pt x="11048" y="1639521"/>
                  </a:lnTo>
                  <a:lnTo>
                    <a:pt x="4647" y="1639521"/>
                  </a:lnTo>
                  <a:close/>
                  <a:moveTo>
                    <a:pt x="1547498" y="0"/>
                  </a:moveTo>
                  <a:cubicBezTo>
                    <a:pt x="2348742" y="0"/>
                    <a:pt x="3007759" y="608940"/>
                    <a:pt x="3087007" y="1389275"/>
                  </a:cubicBezTo>
                  <a:lnTo>
                    <a:pt x="3088818" y="1425152"/>
                  </a:lnTo>
                  <a:lnTo>
                    <a:pt x="3403779" y="1425152"/>
                  </a:lnTo>
                  <a:lnTo>
                    <a:pt x="3090819" y="1630212"/>
                  </a:lnTo>
                  <a:lnTo>
                    <a:pt x="3090349" y="1639521"/>
                  </a:lnTo>
                  <a:lnTo>
                    <a:pt x="3076612" y="1639521"/>
                  </a:lnTo>
                  <a:lnTo>
                    <a:pt x="2649036" y="1919680"/>
                  </a:lnTo>
                  <a:lnTo>
                    <a:pt x="2221461" y="1639521"/>
                  </a:lnTo>
                  <a:lnTo>
                    <a:pt x="2205387" y="1639521"/>
                  </a:lnTo>
                  <a:lnTo>
                    <a:pt x="2207617" y="1630450"/>
                  </a:lnTo>
                  <a:lnTo>
                    <a:pt x="1894293" y="1425152"/>
                  </a:lnTo>
                  <a:lnTo>
                    <a:pt x="2196571" y="1425152"/>
                  </a:lnTo>
                  <a:lnTo>
                    <a:pt x="2193919" y="1408819"/>
                  </a:lnTo>
                  <a:cubicBezTo>
                    <a:pt x="2090582" y="1095256"/>
                    <a:pt x="1643762" y="859382"/>
                    <a:pt x="1108217" y="859382"/>
                  </a:cubicBezTo>
                  <a:cubicBezTo>
                    <a:pt x="496166" y="859382"/>
                    <a:pt x="0" y="1167462"/>
                    <a:pt x="0" y="1547498"/>
                  </a:cubicBezTo>
                  <a:cubicBezTo>
                    <a:pt x="0" y="692838"/>
                    <a:pt x="692838" y="0"/>
                    <a:pt x="1547498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" name="Freeform 20">
              <a:extLst>
                <a:ext uri="{FF2B5EF4-FFF2-40B4-BE49-F238E27FC236}">
                  <a16:creationId xmlns:a16="http://schemas.microsoft.com/office/drawing/2014/main" id="{0B3CA35B-7EBE-0665-1B87-79DD34863B16}"/>
                </a:ext>
              </a:extLst>
            </p:cNvPr>
            <p:cNvSpPr/>
            <p:nvPr/>
          </p:nvSpPr>
          <p:spPr>
            <a:xfrm>
              <a:off x="2813074" y="3969735"/>
              <a:ext cx="2520178" cy="1331473"/>
            </a:xfrm>
            <a:custGeom>
              <a:avLst/>
              <a:gdLst>
                <a:gd name="connsiteX0" fmla="*/ 754743 w 3360237"/>
                <a:gd name="connsiteY0" fmla="*/ 0 h 1775297"/>
                <a:gd name="connsiteX1" fmla="*/ 1509486 w 3360237"/>
                <a:gd name="connsiteY1" fmla="*/ 494528 h 1775297"/>
                <a:gd name="connsiteX2" fmla="*/ 1239735 w 3360237"/>
                <a:gd name="connsiteY2" fmla="*/ 494528 h 1775297"/>
                <a:gd name="connsiteX3" fmla="*/ 1308697 w 3360237"/>
                <a:gd name="connsiteY3" fmla="*/ 580758 h 1775297"/>
                <a:gd name="connsiteX4" fmla="*/ 2256473 w 3360237"/>
                <a:gd name="connsiteY4" fmla="*/ 912061 h 1775297"/>
                <a:gd name="connsiteX5" fmla="*/ 3342175 w 3360237"/>
                <a:gd name="connsiteY5" fmla="*/ 362625 h 1775297"/>
                <a:gd name="connsiteX6" fmla="*/ 3353643 w 3360237"/>
                <a:gd name="connsiteY6" fmla="*/ 315967 h 1775297"/>
                <a:gd name="connsiteX7" fmla="*/ 3360237 w 3360237"/>
                <a:gd name="connsiteY7" fmla="*/ 315967 h 1775297"/>
                <a:gd name="connsiteX8" fmla="*/ 3356700 w 3360237"/>
                <a:gd name="connsiteY8" fmla="*/ 386022 h 1775297"/>
                <a:gd name="connsiteX9" fmla="*/ 1817191 w 3360237"/>
                <a:gd name="connsiteY9" fmla="*/ 1775297 h 1775297"/>
                <a:gd name="connsiteX10" fmla="*/ 333723 w 3360237"/>
                <a:gd name="connsiteY10" fmla="*/ 669759 h 1775297"/>
                <a:gd name="connsiteX11" fmla="*/ 299114 w 3360237"/>
                <a:gd name="connsiteY11" fmla="*/ 494528 h 1775297"/>
                <a:gd name="connsiteX12" fmla="*/ 0 w 3360237"/>
                <a:gd name="connsiteY12" fmla="*/ 494528 h 177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60237" h="1775297">
                  <a:moveTo>
                    <a:pt x="754743" y="0"/>
                  </a:moveTo>
                  <a:lnTo>
                    <a:pt x="1509486" y="494528"/>
                  </a:lnTo>
                  <a:lnTo>
                    <a:pt x="1239735" y="494528"/>
                  </a:lnTo>
                  <a:lnTo>
                    <a:pt x="1308697" y="580758"/>
                  </a:lnTo>
                  <a:cubicBezTo>
                    <a:pt x="1503064" y="779382"/>
                    <a:pt x="1854815" y="912061"/>
                    <a:pt x="2256473" y="912061"/>
                  </a:cubicBezTo>
                  <a:cubicBezTo>
                    <a:pt x="2792018" y="912061"/>
                    <a:pt x="3238838" y="676187"/>
                    <a:pt x="3342175" y="362625"/>
                  </a:cubicBezTo>
                  <a:lnTo>
                    <a:pt x="3353643" y="315967"/>
                  </a:lnTo>
                  <a:lnTo>
                    <a:pt x="3360237" y="315967"/>
                  </a:lnTo>
                  <a:lnTo>
                    <a:pt x="3356700" y="386022"/>
                  </a:lnTo>
                  <a:cubicBezTo>
                    <a:pt x="3277452" y="1166358"/>
                    <a:pt x="2618435" y="1775297"/>
                    <a:pt x="1817191" y="1775297"/>
                  </a:cubicBezTo>
                  <a:cubicBezTo>
                    <a:pt x="1116104" y="1775297"/>
                    <a:pt x="523907" y="1309078"/>
                    <a:pt x="333723" y="669759"/>
                  </a:cubicBezTo>
                  <a:lnTo>
                    <a:pt x="299114" y="494528"/>
                  </a:lnTo>
                  <a:lnTo>
                    <a:pt x="0" y="49452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3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288A4EDC-8890-4AF7-B2E3-17B9B76E7F09}"/>
                  </a:ext>
                </a:extLst>
              </p:cNvPr>
              <p:cNvSpPr txBox="1"/>
              <p:nvPr/>
            </p:nvSpPr>
            <p:spPr>
              <a:xfrm>
                <a:off x="652224" y="2132856"/>
                <a:ext cx="532357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1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𝑬𝒓𝒓𝒐</m:t>
                      </m:r>
                      <m:r>
                        <a:rPr lang="pt-BR" b="1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b="1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𝑹𝒆𝒔𝒑𝒐𝒔𝒕𝒂𝑪𝒐𝒓𝒓𝒆𝒕𝒂</m:t>
                      </m:r>
                      <m:r>
                        <a:rPr lang="pt-BR" b="1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 −</m:t>
                      </m:r>
                      <m:r>
                        <a:rPr lang="pt-BR" b="1" i="1" smtClean="0">
                          <a:solidFill>
                            <a:srgbClr val="ED265B"/>
                          </a:solidFill>
                          <a:latin typeface="Cambria Math" panose="02040503050406030204" pitchFamily="18" charset="0"/>
                        </a:rPr>
                        <m:t>𝑹𝒆𝒔𝒑𝒐𝒔𝒕𝒂𝑪𝒂𝒍𝒄𝒖𝒍𝒂𝒅𝒂</m:t>
                      </m:r>
                    </m:oMath>
                  </m:oMathPara>
                </a14:m>
                <a:endParaRPr lang="pt-BR" b="1" dirty="0">
                  <a:solidFill>
                    <a:srgbClr val="ED265B"/>
                  </a:solidFill>
                </a:endParaRPr>
              </a:p>
            </p:txBody>
          </p:sp>
        </mc:Choice>
        <mc:Fallback xmlns="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288A4EDC-8890-4AF7-B2E3-17B9B76E7F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2224" y="2132856"/>
                <a:ext cx="5323573" cy="276999"/>
              </a:xfrm>
              <a:prstGeom prst="rect">
                <a:avLst/>
              </a:prstGeom>
              <a:blipFill>
                <a:blip r:embed="rId3"/>
                <a:stretch>
                  <a:fillRect l="-687" t="-6667" r="-1260" b="-35556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CaixaDeTexto 12">
            <a:extLst>
              <a:ext uri="{FF2B5EF4-FFF2-40B4-BE49-F238E27FC236}">
                <a16:creationId xmlns:a16="http://schemas.microsoft.com/office/drawing/2014/main" id="{F19F2BA5-BADB-9C30-E8E9-8B4D18261258}"/>
              </a:ext>
            </a:extLst>
          </p:cNvPr>
          <p:cNvSpPr txBox="1"/>
          <p:nvPr/>
        </p:nvSpPr>
        <p:spPr>
          <a:xfrm>
            <a:off x="6444208" y="2933357"/>
            <a:ext cx="2376264" cy="18912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pt-BR" sz="2000" b="1" dirty="0">
                <a:solidFill>
                  <a:srgbClr val="ED265B"/>
                </a:solidFill>
                <a:latin typeface="Gotham HTF Light"/>
                <a:cs typeface="Gotham HTF Light"/>
              </a:rPr>
              <a:t>Precisamos atualizar os pesos até os erros serem pequenos ou nulos;</a:t>
            </a:r>
            <a:endParaRPr lang="en-US" sz="2000" b="1" dirty="0">
              <a:solidFill>
                <a:srgbClr val="ED265B"/>
              </a:solidFill>
              <a:latin typeface="Gotham HTF Light"/>
              <a:cs typeface="Gotham HTF Ligh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CaixaDeTexto 13">
                <a:extLst>
                  <a:ext uri="{FF2B5EF4-FFF2-40B4-BE49-F238E27FC236}">
                    <a16:creationId xmlns:a16="http://schemas.microsoft.com/office/drawing/2014/main" id="{D4E84250-14E5-3E52-7F30-343689B90177}"/>
                  </a:ext>
                </a:extLst>
              </p:cNvPr>
              <p:cNvSpPr txBox="1"/>
              <p:nvPr/>
            </p:nvSpPr>
            <p:spPr>
              <a:xfrm>
                <a:off x="652224" y="5229200"/>
                <a:ext cx="795222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𝒑𝒆𝒔𝒐𝒔</m:t>
                      </m:r>
                      <m:d>
                        <m:dPr>
                          <m:ctrlPr>
                            <a:rPr lang="pt-BR" sz="20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  <m:r>
                            <a:rPr lang="pt-BR" sz="20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sz="20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e>
                      </m:d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𝒑𝒆𝒔𝒐</m:t>
                      </m:r>
                      <m:d>
                        <m:dPr>
                          <m:ctrlPr>
                            <a:rPr lang="pt-BR" sz="20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1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d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+(</m:t>
                      </m:r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𝒕𝒂𝒙𝒂𝑨𝒑𝒓𝒆𝒏𝒅𝒊𝒛𝒂𝒈𝒆𝒎</m:t>
                      </m:r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 ∗</m:t>
                      </m:r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𝒆𝒏𝒕𝒓𝒂𝒅𝒂</m:t>
                      </m:r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 ∗</m:t>
                      </m:r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𝒆𝒓𝒓𝒐</m:t>
                      </m:r>
                      <m:r>
                        <a:rPr lang="pt-BR" sz="2000" b="1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2000" b="1" dirty="0">
                  <a:solidFill>
                    <a:srgbClr val="ED145B"/>
                  </a:solidFill>
                </a:endParaRPr>
              </a:p>
            </p:txBody>
          </p:sp>
        </mc:Choice>
        <mc:Fallback xmlns="">
          <p:sp>
            <p:nvSpPr>
              <p:cNvPr id="14" name="CaixaDeTexto 13">
                <a:extLst>
                  <a:ext uri="{FF2B5EF4-FFF2-40B4-BE49-F238E27FC236}">
                    <a16:creationId xmlns:a16="http://schemas.microsoft.com/office/drawing/2014/main" id="{D4E84250-14E5-3E52-7F30-343689B901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2224" y="5229200"/>
                <a:ext cx="7952224" cy="307777"/>
              </a:xfrm>
              <a:prstGeom prst="rect">
                <a:avLst/>
              </a:prstGeom>
              <a:blipFill>
                <a:blip r:embed="rId4"/>
                <a:stretch>
                  <a:fillRect l="-997" t="-2000" r="-1380" b="-3600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2879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</a:t>
            </a:r>
          </a:p>
          <a:p>
            <a:pPr algn="ctr"/>
            <a:r>
              <a:rPr lang="pt-BR" dirty="0"/>
              <a:t>w2 = 0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708AB6BD-FD60-FBFF-FD2D-59C5FA50F284}"/>
              </a:ext>
            </a:extLst>
          </p:cNvPr>
          <p:cNvSpPr/>
          <p:nvPr/>
        </p:nvSpPr>
        <p:spPr>
          <a:xfrm>
            <a:off x="323528" y="3645024"/>
            <a:ext cx="4032448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ixando a taxa de aprendizagem em 0.1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2F8E7DBF-A7A0-7084-41BD-4E141A397690}"/>
              </a:ext>
            </a:extLst>
          </p:cNvPr>
          <p:cNvSpPr txBox="1"/>
          <p:nvPr/>
        </p:nvSpPr>
        <p:spPr>
          <a:xfrm>
            <a:off x="278396" y="4509120"/>
            <a:ext cx="8424936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q"/>
            </a:pPr>
            <a:r>
              <a:rPr lang="pt-BR" dirty="0">
                <a:latin typeface="Gotham HTF Light"/>
                <a:cs typeface="Gotham HTF Light"/>
              </a:rPr>
              <a:t>Erro = </a:t>
            </a:r>
            <a:r>
              <a:rPr lang="pt-BR" dirty="0" err="1">
                <a:latin typeface="Gotham HTF Light"/>
                <a:cs typeface="Gotham HTF Light"/>
              </a:rPr>
              <a:t>respostaCorreta</a:t>
            </a:r>
            <a:r>
              <a:rPr lang="pt-BR" dirty="0">
                <a:latin typeface="Gotham HTF Light"/>
                <a:cs typeface="Gotham HTF Light"/>
              </a:rPr>
              <a:t> – </a:t>
            </a:r>
            <a:r>
              <a:rPr lang="pt-BR" dirty="0" err="1">
                <a:latin typeface="Gotham HTF Light"/>
                <a:cs typeface="Gotham HTF Light"/>
              </a:rPr>
              <a:t>respostaCalculada</a:t>
            </a:r>
            <a:r>
              <a:rPr lang="pt-BR" dirty="0">
                <a:latin typeface="Gotham HTF Light"/>
                <a:cs typeface="Gotham HTF Light"/>
              </a:rPr>
              <a:t> = 1 – 0 = 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CaixaDeTexto 26">
                <a:extLst>
                  <a:ext uri="{FF2B5EF4-FFF2-40B4-BE49-F238E27FC236}">
                    <a16:creationId xmlns:a16="http://schemas.microsoft.com/office/drawing/2014/main" id="{5878AEB1-6ED7-6333-43B7-954D6E52E236}"/>
                  </a:ext>
                </a:extLst>
              </p:cNvPr>
              <p:cNvSpPr txBox="1"/>
              <p:nvPr/>
            </p:nvSpPr>
            <p:spPr>
              <a:xfrm>
                <a:off x="357692" y="5013176"/>
                <a:ext cx="7526676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𝑝𝑒𝑠𝑜𝑠</m:t>
                      </m:r>
                      <m:d>
                        <m:d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𝑝𝑒𝑠𝑜</m:t>
                      </m:r>
                      <m:d>
                        <m:d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+(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𝑡𝑎𝑥𝑎𝐴𝑝𝑟𝑒𝑛𝑑𝑖𝑧𝑎𝑔𝑒𝑚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 ∗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𝑒𝑛𝑡𝑟𝑎𝑑𝑎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 ∗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𝑒𝑟𝑟𝑜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2000" dirty="0">
                  <a:solidFill>
                    <a:srgbClr val="ED145B"/>
                  </a:solidFill>
                </a:endParaRPr>
              </a:p>
            </p:txBody>
          </p:sp>
        </mc:Choice>
        <mc:Fallback xmlns="">
          <p:sp>
            <p:nvSpPr>
              <p:cNvPr id="27" name="CaixaDeTexto 26">
                <a:extLst>
                  <a:ext uri="{FF2B5EF4-FFF2-40B4-BE49-F238E27FC236}">
                    <a16:creationId xmlns:a16="http://schemas.microsoft.com/office/drawing/2014/main" id="{5878AEB1-6ED7-6333-43B7-954D6E52E2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7692" y="5013176"/>
                <a:ext cx="7526676" cy="307777"/>
              </a:xfrm>
              <a:prstGeom prst="rect">
                <a:avLst/>
              </a:prstGeom>
              <a:blipFill>
                <a:blip r:embed="rId3"/>
                <a:stretch>
                  <a:fillRect l="-324" t="-1961" r="-810" b="-33333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CaixaDeTexto 27">
                <a:extLst>
                  <a:ext uri="{FF2B5EF4-FFF2-40B4-BE49-F238E27FC236}">
                    <a16:creationId xmlns:a16="http://schemas.microsoft.com/office/drawing/2014/main" id="{9CA1A12F-FAC8-F7CB-6A2C-9BF0D6777222}"/>
                  </a:ext>
                </a:extLst>
              </p:cNvPr>
              <p:cNvSpPr txBox="1"/>
              <p:nvPr/>
            </p:nvSpPr>
            <p:spPr>
              <a:xfrm>
                <a:off x="323528" y="5497487"/>
                <a:ext cx="2821735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:0+</m:t>
                      </m:r>
                      <m:d>
                        <m:d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0.1∗1 ∗1</m:t>
                          </m:r>
                        </m:e>
                      </m:d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=0.1</m:t>
                      </m:r>
                    </m:oMath>
                  </m:oMathPara>
                </a14:m>
                <a:endParaRPr lang="pt-BR" sz="2000" dirty="0">
                  <a:solidFill>
                    <a:srgbClr val="ED145B"/>
                  </a:solidFill>
                </a:endParaRPr>
              </a:p>
            </p:txBody>
          </p:sp>
        </mc:Choice>
        <mc:Fallback xmlns="">
          <p:sp>
            <p:nvSpPr>
              <p:cNvPr id="28" name="CaixaDeTexto 27">
                <a:extLst>
                  <a:ext uri="{FF2B5EF4-FFF2-40B4-BE49-F238E27FC236}">
                    <a16:creationId xmlns:a16="http://schemas.microsoft.com/office/drawing/2014/main" id="{9CA1A12F-FAC8-F7CB-6A2C-9BF0D67772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528" y="5497487"/>
                <a:ext cx="2821735" cy="307777"/>
              </a:xfrm>
              <a:prstGeom prst="rect">
                <a:avLst/>
              </a:prstGeom>
              <a:blipFill>
                <a:blip r:embed="rId4"/>
                <a:stretch>
                  <a:fillRect l="-1512" r="-1728" b="-800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CaixaDeTexto 28">
                <a:extLst>
                  <a:ext uri="{FF2B5EF4-FFF2-40B4-BE49-F238E27FC236}">
                    <a16:creationId xmlns:a16="http://schemas.microsoft.com/office/drawing/2014/main" id="{F68C7889-25E0-4F59-FE67-22DEFE5F110A}"/>
                  </a:ext>
                </a:extLst>
              </p:cNvPr>
              <p:cNvSpPr txBox="1"/>
              <p:nvPr/>
            </p:nvSpPr>
            <p:spPr>
              <a:xfrm>
                <a:off x="323528" y="5929535"/>
                <a:ext cx="2832507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:0+</m:t>
                      </m:r>
                      <m:d>
                        <m:d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0.1∗1 ∗1</m:t>
                          </m:r>
                        </m:e>
                      </m:d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=0.1</m:t>
                      </m:r>
                    </m:oMath>
                  </m:oMathPara>
                </a14:m>
                <a:endParaRPr lang="pt-BR" sz="2000" dirty="0">
                  <a:solidFill>
                    <a:srgbClr val="ED145B"/>
                  </a:solidFill>
                </a:endParaRPr>
              </a:p>
            </p:txBody>
          </p:sp>
        </mc:Choice>
        <mc:Fallback xmlns="">
          <p:sp>
            <p:nvSpPr>
              <p:cNvPr id="29" name="CaixaDeTexto 28">
                <a:extLst>
                  <a:ext uri="{FF2B5EF4-FFF2-40B4-BE49-F238E27FC236}">
                    <a16:creationId xmlns:a16="http://schemas.microsoft.com/office/drawing/2014/main" id="{F68C7889-25E0-4F59-FE67-22DEFE5F11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528" y="5929535"/>
                <a:ext cx="2832507" cy="307777"/>
              </a:xfrm>
              <a:prstGeom prst="rect">
                <a:avLst/>
              </a:prstGeom>
              <a:blipFill>
                <a:blip r:embed="rId5"/>
                <a:stretch>
                  <a:fillRect l="-1505" r="-1720" b="-800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8055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.1</a:t>
            </a:r>
          </a:p>
          <a:p>
            <a:pPr algn="ctr"/>
            <a:r>
              <a:rPr lang="pt-BR" dirty="0"/>
              <a:t>w2 = 0.1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4B1A2FD-0910-F508-C927-031051423D5C}"/>
              </a:ext>
            </a:extLst>
          </p:cNvPr>
          <p:cNvSpPr/>
          <p:nvPr/>
        </p:nvSpPr>
        <p:spPr>
          <a:xfrm>
            <a:off x="2813524" y="478260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CFD4053-0EDF-24FC-657B-A3EF1AD69D38}"/>
              </a:ext>
            </a:extLst>
          </p:cNvPr>
          <p:cNvCxnSpPr>
            <a:endCxn id="5" idx="1"/>
          </p:cNvCxnSpPr>
          <p:nvPr/>
        </p:nvCxnSpPr>
        <p:spPr>
          <a:xfrm>
            <a:off x="2195736" y="450912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FFD4BE93-7B90-2DEA-9DC4-721F5C84914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9215" y="539716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3E34BF2D-FEA1-8414-2C91-DBCDB32D2544}"/>
              </a:ext>
            </a:extLst>
          </p:cNvPr>
          <p:cNvCxnSpPr>
            <a:cxnSpLocks/>
            <a:stCxn id="5" idx="6"/>
            <a:endCxn id="12" idx="1"/>
          </p:cNvCxnSpPr>
          <p:nvPr/>
        </p:nvCxnSpPr>
        <p:spPr>
          <a:xfrm>
            <a:off x="3533524" y="514260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29777160-BA8A-E30E-9C35-E997F073C733}"/>
              </a:ext>
            </a:extLst>
          </p:cNvPr>
          <p:cNvSpPr/>
          <p:nvPr/>
        </p:nvSpPr>
        <p:spPr>
          <a:xfrm>
            <a:off x="5333644" y="478260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)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D66B1245-EAE8-3D23-3457-F53BD99FB6C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6444088" y="514260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F5EE6E-91F2-DAC7-1BAE-65A2945B8CAB}"/>
              </a:ext>
            </a:extLst>
          </p:cNvPr>
          <p:cNvSpPr txBox="1"/>
          <p:nvPr/>
        </p:nvSpPr>
        <p:spPr>
          <a:xfrm>
            <a:off x="1781944" y="429309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A953D62-BD13-CC01-59FF-5A42EDFABACE}"/>
              </a:ext>
            </a:extLst>
          </p:cNvPr>
          <p:cNvSpPr txBox="1"/>
          <p:nvPr/>
        </p:nvSpPr>
        <p:spPr>
          <a:xfrm>
            <a:off x="1763688" y="55799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268A306-3DF1-436B-CB18-297C930F9D93}"/>
              </a:ext>
            </a:extLst>
          </p:cNvPr>
          <p:cNvSpPr txBox="1"/>
          <p:nvPr/>
        </p:nvSpPr>
        <p:spPr>
          <a:xfrm>
            <a:off x="7326560" y="494116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A922CB7-BEC3-8587-2685-5EF34B3F19D9}"/>
              </a:ext>
            </a:extLst>
          </p:cNvPr>
          <p:cNvSpPr txBox="1"/>
          <p:nvPr/>
        </p:nvSpPr>
        <p:spPr>
          <a:xfrm>
            <a:off x="3635896" y="4643844"/>
            <a:ext cx="15120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*0.1 + 0*0.1</a:t>
            </a:r>
            <a:endParaRPr lang="pt-BR" dirty="0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814A903E-5AFE-C714-CAA0-F4DC8A8E581C}"/>
              </a:ext>
            </a:extLst>
          </p:cNvPr>
          <p:cNvSpPr/>
          <p:nvPr/>
        </p:nvSpPr>
        <p:spPr>
          <a:xfrm>
            <a:off x="323528" y="1965904"/>
            <a:ext cx="3672408" cy="504027"/>
          </a:xfrm>
          <a:prstGeom prst="rect">
            <a:avLst/>
          </a:prstGeom>
          <a:noFill/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0572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.1</a:t>
            </a:r>
          </a:p>
          <a:p>
            <a:pPr algn="ctr"/>
            <a:r>
              <a:rPr lang="pt-BR" dirty="0"/>
              <a:t>w2 = 0.1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4B1A2FD-0910-F508-C927-031051423D5C}"/>
              </a:ext>
            </a:extLst>
          </p:cNvPr>
          <p:cNvSpPr/>
          <p:nvPr/>
        </p:nvSpPr>
        <p:spPr>
          <a:xfrm>
            <a:off x="2813524" y="478260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CFD4053-0EDF-24FC-657B-A3EF1AD69D38}"/>
              </a:ext>
            </a:extLst>
          </p:cNvPr>
          <p:cNvCxnSpPr>
            <a:endCxn id="5" idx="1"/>
          </p:cNvCxnSpPr>
          <p:nvPr/>
        </p:nvCxnSpPr>
        <p:spPr>
          <a:xfrm>
            <a:off x="2195736" y="450912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FFD4BE93-7B90-2DEA-9DC4-721F5C84914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9215" y="539716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3E34BF2D-FEA1-8414-2C91-DBCDB32D2544}"/>
              </a:ext>
            </a:extLst>
          </p:cNvPr>
          <p:cNvCxnSpPr>
            <a:cxnSpLocks/>
            <a:stCxn id="5" idx="6"/>
            <a:endCxn id="12" idx="1"/>
          </p:cNvCxnSpPr>
          <p:nvPr/>
        </p:nvCxnSpPr>
        <p:spPr>
          <a:xfrm>
            <a:off x="3533524" y="514260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29777160-BA8A-E30E-9C35-E997F073C733}"/>
              </a:ext>
            </a:extLst>
          </p:cNvPr>
          <p:cNvSpPr/>
          <p:nvPr/>
        </p:nvSpPr>
        <p:spPr>
          <a:xfrm>
            <a:off x="5333644" y="478260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.1)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D66B1245-EAE8-3D23-3457-F53BD99FB6C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6444088" y="514260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F5EE6E-91F2-DAC7-1BAE-65A2945B8CAB}"/>
              </a:ext>
            </a:extLst>
          </p:cNvPr>
          <p:cNvSpPr txBox="1"/>
          <p:nvPr/>
        </p:nvSpPr>
        <p:spPr>
          <a:xfrm>
            <a:off x="1781944" y="429309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A953D62-BD13-CC01-59FF-5A42EDFABACE}"/>
              </a:ext>
            </a:extLst>
          </p:cNvPr>
          <p:cNvSpPr txBox="1"/>
          <p:nvPr/>
        </p:nvSpPr>
        <p:spPr>
          <a:xfrm>
            <a:off x="1763688" y="55799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1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268A306-3DF1-436B-CB18-297C930F9D93}"/>
              </a:ext>
            </a:extLst>
          </p:cNvPr>
          <p:cNvSpPr txBox="1"/>
          <p:nvPr/>
        </p:nvSpPr>
        <p:spPr>
          <a:xfrm>
            <a:off x="7326560" y="494116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A922CB7-BEC3-8587-2685-5EF34B3F19D9}"/>
              </a:ext>
            </a:extLst>
          </p:cNvPr>
          <p:cNvSpPr txBox="1"/>
          <p:nvPr/>
        </p:nvSpPr>
        <p:spPr>
          <a:xfrm>
            <a:off x="3635896" y="4643844"/>
            <a:ext cx="15120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*0.1 + 1*0.1</a:t>
            </a:r>
            <a:endParaRPr lang="pt-BR" dirty="0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814A903E-5AFE-C714-CAA0-F4DC8A8E581C}"/>
              </a:ext>
            </a:extLst>
          </p:cNvPr>
          <p:cNvSpPr/>
          <p:nvPr/>
        </p:nvSpPr>
        <p:spPr>
          <a:xfrm>
            <a:off x="323528" y="2348909"/>
            <a:ext cx="3672408" cy="504027"/>
          </a:xfrm>
          <a:prstGeom prst="rect">
            <a:avLst/>
          </a:prstGeom>
          <a:noFill/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6187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pic>
        <p:nvPicPr>
          <p:cNvPr id="2" name="Google Shape;82;p18">
            <a:extLst>
              <a:ext uri="{FF2B5EF4-FFF2-40B4-BE49-F238E27FC236}">
                <a16:creationId xmlns:a16="http://schemas.microsoft.com/office/drawing/2014/main" id="{3691AC1D-3573-E7EE-BE2A-EE05192401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508504" y="1700808"/>
            <a:ext cx="3600000" cy="36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1A62D859-DA73-506F-A64C-1304FB75845D}"/>
              </a:ext>
            </a:extLst>
          </p:cNvPr>
          <p:cNvSpPr txBox="1"/>
          <p:nvPr/>
        </p:nvSpPr>
        <p:spPr>
          <a:xfrm>
            <a:off x="323528" y="1052736"/>
            <a:ext cx="5400600" cy="52247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O que é </a:t>
            </a:r>
            <a:r>
              <a:rPr lang="en-US" sz="1600" dirty="0" err="1">
                <a:latin typeface="Gotham HTF Light"/>
                <a:cs typeface="Gotham HTF Light"/>
              </a:rPr>
              <a:t>uma</a:t>
            </a:r>
            <a:r>
              <a:rPr lang="en-US" sz="1600" dirty="0">
                <a:latin typeface="Gotham HTF Light"/>
                <a:cs typeface="Gotham HTF Light"/>
              </a:rPr>
              <a:t> Rede Neural Artificial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Quando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surgiu</a:t>
            </a:r>
            <a:r>
              <a:rPr lang="en-US" sz="1600" dirty="0">
                <a:latin typeface="Gotham HTF Light"/>
                <a:cs typeface="Gotham HTF Light"/>
              </a:rPr>
              <a:t> a Rede Neural Artificial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Onde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podemos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aplicar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uma</a:t>
            </a:r>
            <a:r>
              <a:rPr lang="en-US" sz="1600" dirty="0">
                <a:latin typeface="Gotham HTF Light"/>
                <a:cs typeface="Gotham HTF Light"/>
              </a:rPr>
              <a:t> Rede Neural Artificial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Quando</a:t>
            </a:r>
            <a:r>
              <a:rPr lang="en-US" sz="1600" dirty="0">
                <a:latin typeface="Gotham HTF Light"/>
                <a:cs typeface="Gotham HTF Light"/>
              </a:rPr>
              <a:t> usar </a:t>
            </a:r>
            <a:r>
              <a:rPr lang="en-US" sz="1600" dirty="0" err="1">
                <a:latin typeface="Gotham HTF Light"/>
                <a:cs typeface="Gotham HTF Light"/>
              </a:rPr>
              <a:t>uma</a:t>
            </a:r>
            <a:r>
              <a:rPr lang="en-US" sz="1600" dirty="0">
                <a:latin typeface="Gotham HTF Light"/>
                <a:cs typeface="Gotham HTF Light"/>
              </a:rPr>
              <a:t> Rede Neural Artificial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Gotham HTF Light"/>
                <a:cs typeface="Gotham HTF Light"/>
              </a:rPr>
              <a:t>Como </a:t>
            </a:r>
            <a:r>
              <a:rPr lang="en-US" sz="1600" dirty="0" err="1">
                <a:latin typeface="Gotham HTF Light"/>
                <a:cs typeface="Gotham HTF Light"/>
              </a:rPr>
              <a:t>uma</a:t>
            </a:r>
            <a:r>
              <a:rPr lang="en-US" sz="1600" dirty="0">
                <a:latin typeface="Gotham HTF Light"/>
                <a:cs typeface="Gotham HTF Light"/>
              </a:rPr>
              <a:t> Rede Neural Artificial </a:t>
            </a:r>
            <a:r>
              <a:rPr lang="en-US" sz="1600" dirty="0" err="1">
                <a:latin typeface="Gotham HTF Light"/>
                <a:cs typeface="Gotham HTF Light"/>
              </a:rPr>
              <a:t>funciona</a:t>
            </a:r>
            <a:r>
              <a:rPr lang="en-US" sz="1600" dirty="0">
                <a:latin typeface="Gotham HTF Light"/>
                <a:cs typeface="Gotham HTF Light"/>
              </a:rPr>
              <a:t>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Função</a:t>
            </a:r>
            <a:r>
              <a:rPr lang="en-US" sz="1600" dirty="0">
                <a:latin typeface="Gotham HTF Light"/>
                <a:cs typeface="Gotham HTF Light"/>
              </a:rPr>
              <a:t> de </a:t>
            </a:r>
            <a:r>
              <a:rPr lang="en-US" sz="1600" dirty="0" err="1">
                <a:latin typeface="Gotham HTF Light"/>
                <a:cs typeface="Gotham HTF Light"/>
              </a:rPr>
              <a:t>ativação</a:t>
            </a:r>
            <a:r>
              <a:rPr lang="en-US" sz="1600" dirty="0">
                <a:latin typeface="Gotham HTF Light"/>
                <a:cs typeface="Gotham HTF Light"/>
              </a:rPr>
              <a:t> do </a:t>
            </a:r>
            <a:r>
              <a:rPr lang="en-US" sz="1600" dirty="0" err="1">
                <a:latin typeface="Gotham HTF Light"/>
                <a:cs typeface="Gotham HTF Light"/>
              </a:rPr>
              <a:t>neurônio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xercício</a:t>
            </a:r>
            <a:r>
              <a:rPr lang="en-US" sz="1600" dirty="0">
                <a:latin typeface="Gotham HTF Light"/>
                <a:cs typeface="Gotham HTF Light"/>
              </a:rPr>
              <a:t> 01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xercício</a:t>
            </a:r>
            <a:r>
              <a:rPr lang="en-US" sz="1600" dirty="0">
                <a:latin typeface="Gotham HTF Light"/>
                <a:cs typeface="Gotham HTF Light"/>
              </a:rPr>
              <a:t> 02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xercício</a:t>
            </a:r>
            <a:r>
              <a:rPr lang="en-US" sz="1600" dirty="0">
                <a:latin typeface="Gotham HTF Light"/>
                <a:cs typeface="Gotham HTF Light"/>
              </a:rPr>
              <a:t> 03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Ajustes</a:t>
            </a:r>
            <a:r>
              <a:rPr lang="en-US" sz="1600" dirty="0">
                <a:latin typeface="Gotham HTF Light"/>
                <a:cs typeface="Gotham HTF Light"/>
              </a:rPr>
              <a:t> de Pesos – </a:t>
            </a:r>
            <a:r>
              <a:rPr lang="en-US" sz="1600" dirty="0" err="1">
                <a:latin typeface="Gotham HTF Light"/>
                <a:cs typeface="Gotham HTF Light"/>
              </a:rPr>
              <a:t>Treino</a:t>
            </a:r>
            <a:r>
              <a:rPr lang="en-US" sz="1600" dirty="0">
                <a:latin typeface="Gotham HTF Light"/>
                <a:cs typeface="Gotham HTF Light"/>
              </a:rPr>
              <a:t> da Rede Neural!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Ajustes</a:t>
            </a:r>
            <a:r>
              <a:rPr lang="en-US" sz="1600" dirty="0">
                <a:latin typeface="Gotham HTF Light"/>
                <a:cs typeface="Gotham HTF Light"/>
              </a:rPr>
              <a:t> de Pesos – </a:t>
            </a:r>
            <a:r>
              <a:rPr lang="en-US" sz="1600" dirty="0" err="1">
                <a:latin typeface="Gotham HTF Light"/>
                <a:cs typeface="Gotham HTF Light"/>
              </a:rPr>
              <a:t>Calculando</a:t>
            </a:r>
            <a:r>
              <a:rPr lang="en-US" sz="1600" dirty="0">
                <a:latin typeface="Gotham HTF Light"/>
                <a:cs typeface="Gotham HTF Light"/>
              </a:rPr>
              <a:t> o </a:t>
            </a:r>
            <a:r>
              <a:rPr lang="en-US" sz="1600" dirty="0" err="1">
                <a:latin typeface="Gotham HTF Light"/>
                <a:cs typeface="Gotham HTF Light"/>
              </a:rPr>
              <a:t>Erro</a:t>
            </a:r>
            <a:r>
              <a:rPr lang="en-US" sz="1600" dirty="0">
                <a:latin typeface="Gotham HTF Light"/>
                <a:cs typeface="Gotham HTF Light"/>
              </a:rPr>
              <a:t> e </a:t>
            </a:r>
            <a:r>
              <a:rPr lang="en-US" sz="1600" dirty="0" err="1">
                <a:latin typeface="Gotham HTF Light"/>
                <a:cs typeface="Gotham HTF Light"/>
              </a:rPr>
              <a:t>atualizado</a:t>
            </a:r>
            <a:r>
              <a:rPr lang="en-US" sz="1600" dirty="0">
                <a:latin typeface="Gotham HTF Light"/>
                <a:cs typeface="Gotham HTF Light"/>
              </a:rPr>
              <a:t> </a:t>
            </a:r>
            <a:r>
              <a:rPr lang="en-US" sz="1600" dirty="0" err="1">
                <a:latin typeface="Gotham HTF Light"/>
                <a:cs typeface="Gotham HTF Light"/>
              </a:rPr>
              <a:t>os</a:t>
            </a:r>
            <a:r>
              <a:rPr lang="en-US" sz="1600" dirty="0">
                <a:latin typeface="Gotham HTF Light"/>
                <a:cs typeface="Gotham HTF Light"/>
              </a:rPr>
              <a:t> pesos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Ajustes</a:t>
            </a:r>
            <a:r>
              <a:rPr lang="en-US" sz="1600" dirty="0">
                <a:latin typeface="Gotham HTF Light"/>
                <a:cs typeface="Gotham HTF Light"/>
              </a:rPr>
              <a:t> de Pesos – </a:t>
            </a:r>
            <a:r>
              <a:rPr lang="en-US" sz="1600" dirty="0" err="1">
                <a:latin typeface="Gotham HTF Light"/>
                <a:cs typeface="Gotham HTF Light"/>
              </a:rPr>
              <a:t>Treino</a:t>
            </a:r>
            <a:r>
              <a:rPr lang="en-US" sz="1600" dirty="0">
                <a:latin typeface="Gotham HTF Light"/>
                <a:cs typeface="Gotham HTF Light"/>
              </a:rPr>
              <a:t> da Rede Neural (de novo)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Exercício</a:t>
            </a:r>
            <a:r>
              <a:rPr lang="en-US" sz="1600" dirty="0">
                <a:latin typeface="Gotham HTF Light"/>
                <a:cs typeface="Gotham HTF Light"/>
              </a:rPr>
              <a:t> 04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latin typeface="Gotham HTF Light"/>
                <a:cs typeface="Gotham HTF Light"/>
              </a:rPr>
              <a:t>Laboratório</a:t>
            </a:r>
            <a:r>
              <a:rPr lang="en-US" sz="1600" dirty="0">
                <a:latin typeface="Gotham HTF Light"/>
                <a:cs typeface="Gotham HTF Light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56721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.1</a:t>
            </a:r>
          </a:p>
          <a:p>
            <a:pPr algn="ctr"/>
            <a:r>
              <a:rPr lang="pt-BR" dirty="0"/>
              <a:t>w2 = 0.1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4B1A2FD-0910-F508-C927-031051423D5C}"/>
              </a:ext>
            </a:extLst>
          </p:cNvPr>
          <p:cNvSpPr/>
          <p:nvPr/>
        </p:nvSpPr>
        <p:spPr>
          <a:xfrm>
            <a:off x="2813524" y="478260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CFD4053-0EDF-24FC-657B-A3EF1AD69D38}"/>
              </a:ext>
            </a:extLst>
          </p:cNvPr>
          <p:cNvCxnSpPr>
            <a:endCxn id="5" idx="1"/>
          </p:cNvCxnSpPr>
          <p:nvPr/>
        </p:nvCxnSpPr>
        <p:spPr>
          <a:xfrm>
            <a:off x="2195736" y="450912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FFD4BE93-7B90-2DEA-9DC4-721F5C84914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9215" y="539716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3E34BF2D-FEA1-8414-2C91-DBCDB32D2544}"/>
              </a:ext>
            </a:extLst>
          </p:cNvPr>
          <p:cNvCxnSpPr>
            <a:cxnSpLocks/>
            <a:stCxn id="5" idx="6"/>
            <a:endCxn id="12" idx="1"/>
          </p:cNvCxnSpPr>
          <p:nvPr/>
        </p:nvCxnSpPr>
        <p:spPr>
          <a:xfrm>
            <a:off x="3533524" y="514260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29777160-BA8A-E30E-9C35-E997F073C733}"/>
              </a:ext>
            </a:extLst>
          </p:cNvPr>
          <p:cNvSpPr/>
          <p:nvPr/>
        </p:nvSpPr>
        <p:spPr>
          <a:xfrm>
            <a:off x="5333644" y="478260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.1)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D66B1245-EAE8-3D23-3457-F53BD99FB6C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6444088" y="514260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F5EE6E-91F2-DAC7-1BAE-65A2945B8CAB}"/>
              </a:ext>
            </a:extLst>
          </p:cNvPr>
          <p:cNvSpPr txBox="1"/>
          <p:nvPr/>
        </p:nvSpPr>
        <p:spPr>
          <a:xfrm>
            <a:off x="1781944" y="429309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A953D62-BD13-CC01-59FF-5A42EDFABACE}"/>
              </a:ext>
            </a:extLst>
          </p:cNvPr>
          <p:cNvSpPr txBox="1"/>
          <p:nvPr/>
        </p:nvSpPr>
        <p:spPr>
          <a:xfrm>
            <a:off x="1763688" y="55799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268A306-3DF1-436B-CB18-297C930F9D93}"/>
              </a:ext>
            </a:extLst>
          </p:cNvPr>
          <p:cNvSpPr txBox="1"/>
          <p:nvPr/>
        </p:nvSpPr>
        <p:spPr>
          <a:xfrm>
            <a:off x="7326560" y="494116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A922CB7-BEC3-8587-2685-5EF34B3F19D9}"/>
              </a:ext>
            </a:extLst>
          </p:cNvPr>
          <p:cNvSpPr txBox="1"/>
          <p:nvPr/>
        </p:nvSpPr>
        <p:spPr>
          <a:xfrm>
            <a:off x="3635896" y="4643844"/>
            <a:ext cx="15120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1</a:t>
            </a:r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*0.1 + 0*0.1</a:t>
            </a:r>
            <a:endParaRPr lang="pt-BR" dirty="0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814A903E-5AFE-C714-CAA0-F4DC8A8E581C}"/>
              </a:ext>
            </a:extLst>
          </p:cNvPr>
          <p:cNvSpPr/>
          <p:nvPr/>
        </p:nvSpPr>
        <p:spPr>
          <a:xfrm>
            <a:off x="323528" y="2708949"/>
            <a:ext cx="3672408" cy="504027"/>
          </a:xfrm>
          <a:prstGeom prst="rect">
            <a:avLst/>
          </a:prstGeom>
          <a:noFill/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257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.1</a:t>
            </a:r>
          </a:p>
          <a:p>
            <a:pPr algn="ctr"/>
            <a:r>
              <a:rPr lang="pt-BR" dirty="0"/>
              <a:t>w2 = 0.1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4B1A2FD-0910-F508-C927-031051423D5C}"/>
              </a:ext>
            </a:extLst>
          </p:cNvPr>
          <p:cNvSpPr/>
          <p:nvPr/>
        </p:nvSpPr>
        <p:spPr>
          <a:xfrm>
            <a:off x="2813524" y="478260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CFD4053-0EDF-24FC-657B-A3EF1AD69D38}"/>
              </a:ext>
            </a:extLst>
          </p:cNvPr>
          <p:cNvCxnSpPr>
            <a:endCxn id="5" idx="1"/>
          </p:cNvCxnSpPr>
          <p:nvPr/>
        </p:nvCxnSpPr>
        <p:spPr>
          <a:xfrm>
            <a:off x="2195736" y="450912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FFD4BE93-7B90-2DEA-9DC4-721F5C84914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9215" y="539716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3E34BF2D-FEA1-8414-2C91-DBCDB32D2544}"/>
              </a:ext>
            </a:extLst>
          </p:cNvPr>
          <p:cNvCxnSpPr>
            <a:cxnSpLocks/>
            <a:stCxn id="5" idx="6"/>
            <a:endCxn id="12" idx="1"/>
          </p:cNvCxnSpPr>
          <p:nvPr/>
        </p:nvCxnSpPr>
        <p:spPr>
          <a:xfrm>
            <a:off x="3533524" y="514260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29777160-BA8A-E30E-9C35-E997F073C733}"/>
              </a:ext>
            </a:extLst>
          </p:cNvPr>
          <p:cNvSpPr/>
          <p:nvPr/>
        </p:nvSpPr>
        <p:spPr>
          <a:xfrm>
            <a:off x="5333644" y="478260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.2)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D66B1245-EAE8-3D23-3457-F53BD99FB6C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6444088" y="514260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F5EE6E-91F2-DAC7-1BAE-65A2945B8CAB}"/>
              </a:ext>
            </a:extLst>
          </p:cNvPr>
          <p:cNvSpPr txBox="1"/>
          <p:nvPr/>
        </p:nvSpPr>
        <p:spPr>
          <a:xfrm>
            <a:off x="1781944" y="429309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A953D62-BD13-CC01-59FF-5A42EDFABACE}"/>
              </a:ext>
            </a:extLst>
          </p:cNvPr>
          <p:cNvSpPr txBox="1"/>
          <p:nvPr/>
        </p:nvSpPr>
        <p:spPr>
          <a:xfrm>
            <a:off x="1763688" y="55799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268A306-3DF1-436B-CB18-297C930F9D93}"/>
              </a:ext>
            </a:extLst>
          </p:cNvPr>
          <p:cNvSpPr txBox="1"/>
          <p:nvPr/>
        </p:nvSpPr>
        <p:spPr>
          <a:xfrm>
            <a:off x="7326560" y="494116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A922CB7-BEC3-8587-2685-5EF34B3F19D9}"/>
              </a:ext>
            </a:extLst>
          </p:cNvPr>
          <p:cNvSpPr txBox="1"/>
          <p:nvPr/>
        </p:nvSpPr>
        <p:spPr>
          <a:xfrm>
            <a:off x="3635896" y="4643844"/>
            <a:ext cx="15120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1</a:t>
            </a:r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*0.1 + 1*0.1</a:t>
            </a:r>
            <a:endParaRPr lang="pt-BR" dirty="0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814A903E-5AFE-C714-CAA0-F4DC8A8E581C}"/>
              </a:ext>
            </a:extLst>
          </p:cNvPr>
          <p:cNvSpPr/>
          <p:nvPr/>
        </p:nvSpPr>
        <p:spPr>
          <a:xfrm>
            <a:off x="323528" y="2996981"/>
            <a:ext cx="3672408" cy="504027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60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E4EE97E1-36CE-AD70-93D2-183246669AEC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56792"/>
          <a:ext cx="3672408" cy="19212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5690776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06437466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573865432"/>
                    </a:ext>
                  </a:extLst>
                </a:gridCol>
              </a:tblGrid>
              <a:tr h="458217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A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B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/>
                        <a:t>C </a:t>
                      </a:r>
                    </a:p>
                  </a:txBody>
                  <a:tcPr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523004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37353873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2344562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1681049"/>
                  </a:ext>
                </a:extLst>
              </a:tr>
              <a:tr h="277671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21646"/>
                  </a:ext>
                </a:extLst>
              </a:tr>
            </a:tbl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780552DD-75A8-3E52-D606-338B3DB3316B}"/>
              </a:ext>
            </a:extLst>
          </p:cNvPr>
          <p:cNvSpPr/>
          <p:nvPr/>
        </p:nvSpPr>
        <p:spPr>
          <a:xfrm>
            <a:off x="5333804" y="2190318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6B71BF9F-34E6-1BEE-4B8C-6226DF8DCA3A}"/>
              </a:ext>
            </a:extLst>
          </p:cNvPr>
          <p:cNvCxnSpPr>
            <a:endCxn id="2" idx="1"/>
          </p:cNvCxnSpPr>
          <p:nvPr/>
        </p:nvCxnSpPr>
        <p:spPr>
          <a:xfrm>
            <a:off x="4716016" y="1916832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807161B1-13A8-1F89-1F87-D2F1EE68E2A2}"/>
              </a:ext>
            </a:extLst>
          </p:cNvPr>
          <p:cNvCxnSpPr>
            <a:cxnSpLocks/>
            <a:endCxn id="2" idx="3"/>
          </p:cNvCxnSpPr>
          <p:nvPr/>
        </p:nvCxnSpPr>
        <p:spPr>
          <a:xfrm flipV="1">
            <a:off x="4739495" y="2804876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7D07308C-0B8D-6B62-578B-120A18CF0DDA}"/>
              </a:ext>
            </a:extLst>
          </p:cNvPr>
          <p:cNvCxnSpPr>
            <a:cxnSpLocks/>
            <a:stCxn id="2" idx="6"/>
            <a:endCxn id="16" idx="1"/>
          </p:cNvCxnSpPr>
          <p:nvPr/>
        </p:nvCxnSpPr>
        <p:spPr>
          <a:xfrm>
            <a:off x="6053804" y="2550318"/>
            <a:ext cx="72000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D13AF16B-392B-F43A-9607-A39E750E201C}"/>
              </a:ext>
            </a:extLst>
          </p:cNvPr>
          <p:cNvSpPr/>
          <p:nvPr/>
        </p:nvSpPr>
        <p:spPr>
          <a:xfrm>
            <a:off x="6773804" y="219031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</a:t>
            </a:r>
            <a:r>
              <a:rPr lang="pt-BR" dirty="0" err="1"/>
              <a:t>u+b</a:t>
            </a:r>
            <a:r>
              <a:rPr lang="pt-BR" dirty="0"/>
              <a:t>)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88D156C7-BD36-62BB-2F6A-F40329E8A475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7884248" y="2550318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A2EE7C0C-8D97-C898-A055-81D700BE556D}"/>
              </a:ext>
            </a:extLst>
          </p:cNvPr>
          <p:cNvSpPr txBox="1"/>
          <p:nvPr/>
        </p:nvSpPr>
        <p:spPr>
          <a:xfrm>
            <a:off x="4302224" y="170080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</a:t>
            </a: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1F57E8-CE0E-DA59-9705-66B5A38018D3}"/>
              </a:ext>
            </a:extLst>
          </p:cNvPr>
          <p:cNvSpPr txBox="1"/>
          <p:nvPr/>
        </p:nvSpPr>
        <p:spPr>
          <a:xfrm>
            <a:off x="4283968" y="29876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DA8312C-E444-62BF-91C3-2FEAED631879}"/>
              </a:ext>
            </a:extLst>
          </p:cNvPr>
          <p:cNvSpPr txBox="1"/>
          <p:nvPr/>
        </p:nvSpPr>
        <p:spPr>
          <a:xfrm>
            <a:off x="8766720" y="234888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C</a:t>
            </a:r>
            <a:endParaRPr lang="pt-BR" dirty="0"/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A5F68492-8E2A-D248-0E58-CD1AFDDC7B37}"/>
              </a:ext>
            </a:extLst>
          </p:cNvPr>
          <p:cNvSpPr/>
          <p:nvPr/>
        </p:nvSpPr>
        <p:spPr>
          <a:xfrm>
            <a:off x="5292080" y="980728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1 = 0.1</a:t>
            </a:r>
          </a:p>
          <a:p>
            <a:pPr algn="ctr"/>
            <a:r>
              <a:rPr lang="pt-BR" dirty="0"/>
              <a:t>w2 = 0.1</a:t>
            </a: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708AB6BD-FD60-FBFF-FD2D-59C5FA50F284}"/>
              </a:ext>
            </a:extLst>
          </p:cNvPr>
          <p:cNvSpPr/>
          <p:nvPr/>
        </p:nvSpPr>
        <p:spPr>
          <a:xfrm>
            <a:off x="323528" y="3645024"/>
            <a:ext cx="4032448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ixando a taxa de aprendizagem em 0.1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2F8E7DBF-A7A0-7084-41BD-4E141A397690}"/>
              </a:ext>
            </a:extLst>
          </p:cNvPr>
          <p:cNvSpPr txBox="1"/>
          <p:nvPr/>
        </p:nvSpPr>
        <p:spPr>
          <a:xfrm>
            <a:off x="278396" y="4509120"/>
            <a:ext cx="8424936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q"/>
            </a:pPr>
            <a:r>
              <a:rPr lang="pt-BR" dirty="0">
                <a:latin typeface="Gotham HTF Light"/>
                <a:cs typeface="Gotham HTF Light"/>
              </a:rPr>
              <a:t>Erro = </a:t>
            </a:r>
            <a:r>
              <a:rPr lang="pt-BR" dirty="0" err="1">
                <a:latin typeface="Gotham HTF Light"/>
                <a:cs typeface="Gotham HTF Light"/>
              </a:rPr>
              <a:t>respostaCorreta</a:t>
            </a:r>
            <a:r>
              <a:rPr lang="pt-BR" dirty="0">
                <a:latin typeface="Gotham HTF Light"/>
                <a:cs typeface="Gotham HTF Light"/>
              </a:rPr>
              <a:t> – </a:t>
            </a:r>
            <a:r>
              <a:rPr lang="pt-BR" dirty="0" err="1">
                <a:latin typeface="Gotham HTF Light"/>
                <a:cs typeface="Gotham HTF Light"/>
              </a:rPr>
              <a:t>respostaCalculada</a:t>
            </a:r>
            <a:r>
              <a:rPr lang="pt-BR" dirty="0">
                <a:latin typeface="Gotham HTF Light"/>
                <a:cs typeface="Gotham HTF Light"/>
              </a:rPr>
              <a:t> = 1 – 0 = 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CaixaDeTexto 26">
                <a:extLst>
                  <a:ext uri="{FF2B5EF4-FFF2-40B4-BE49-F238E27FC236}">
                    <a16:creationId xmlns:a16="http://schemas.microsoft.com/office/drawing/2014/main" id="{5878AEB1-6ED7-6333-43B7-954D6E52E236}"/>
                  </a:ext>
                </a:extLst>
              </p:cNvPr>
              <p:cNvSpPr txBox="1"/>
              <p:nvPr/>
            </p:nvSpPr>
            <p:spPr>
              <a:xfrm>
                <a:off x="357692" y="5013176"/>
                <a:ext cx="7526676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𝑝𝑒𝑠𝑜𝑠</m:t>
                      </m:r>
                      <m:d>
                        <m:d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𝑝𝑒𝑠𝑜</m:t>
                      </m:r>
                      <m:d>
                        <m:d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+(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𝑡𝑎𝑥𝑎𝐴𝑝𝑟𝑒𝑛𝑑𝑖𝑧𝑎𝑔𝑒𝑚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 ∗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𝑒𝑛𝑡𝑟𝑎𝑑𝑎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 ∗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𝑒𝑟𝑟𝑜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2000" dirty="0">
                  <a:solidFill>
                    <a:srgbClr val="ED145B"/>
                  </a:solidFill>
                </a:endParaRPr>
              </a:p>
            </p:txBody>
          </p:sp>
        </mc:Choice>
        <mc:Fallback xmlns="">
          <p:sp>
            <p:nvSpPr>
              <p:cNvPr id="27" name="CaixaDeTexto 26">
                <a:extLst>
                  <a:ext uri="{FF2B5EF4-FFF2-40B4-BE49-F238E27FC236}">
                    <a16:creationId xmlns:a16="http://schemas.microsoft.com/office/drawing/2014/main" id="{5878AEB1-6ED7-6333-43B7-954D6E52E2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7692" y="5013176"/>
                <a:ext cx="7526676" cy="307777"/>
              </a:xfrm>
              <a:prstGeom prst="rect">
                <a:avLst/>
              </a:prstGeom>
              <a:blipFill>
                <a:blip r:embed="rId3"/>
                <a:stretch>
                  <a:fillRect l="-324" t="-1961" r="-810" b="-33333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CaixaDeTexto 27">
                <a:extLst>
                  <a:ext uri="{FF2B5EF4-FFF2-40B4-BE49-F238E27FC236}">
                    <a16:creationId xmlns:a16="http://schemas.microsoft.com/office/drawing/2014/main" id="{9CA1A12F-FAC8-F7CB-6A2C-9BF0D6777222}"/>
                  </a:ext>
                </a:extLst>
              </p:cNvPr>
              <p:cNvSpPr txBox="1"/>
              <p:nvPr/>
            </p:nvSpPr>
            <p:spPr>
              <a:xfrm>
                <a:off x="323528" y="5497487"/>
                <a:ext cx="3017301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:0.1+</m:t>
                      </m:r>
                      <m:d>
                        <m:d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0.1∗1 ∗1</m:t>
                          </m:r>
                        </m:e>
                      </m:d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=0.2</m:t>
                      </m:r>
                    </m:oMath>
                  </m:oMathPara>
                </a14:m>
                <a:endParaRPr lang="pt-BR" sz="2000" dirty="0">
                  <a:solidFill>
                    <a:srgbClr val="ED145B"/>
                  </a:solidFill>
                </a:endParaRPr>
              </a:p>
            </p:txBody>
          </p:sp>
        </mc:Choice>
        <mc:Fallback xmlns="">
          <p:sp>
            <p:nvSpPr>
              <p:cNvPr id="28" name="CaixaDeTexto 27">
                <a:extLst>
                  <a:ext uri="{FF2B5EF4-FFF2-40B4-BE49-F238E27FC236}">
                    <a16:creationId xmlns:a16="http://schemas.microsoft.com/office/drawing/2014/main" id="{9CA1A12F-FAC8-F7CB-6A2C-9BF0D67772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528" y="5497487"/>
                <a:ext cx="3017301" cy="307777"/>
              </a:xfrm>
              <a:prstGeom prst="rect">
                <a:avLst/>
              </a:prstGeom>
              <a:blipFill>
                <a:blip r:embed="rId4"/>
                <a:stretch>
                  <a:fillRect l="-1414" r="-1616" b="-800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CaixaDeTexto 28">
                <a:extLst>
                  <a:ext uri="{FF2B5EF4-FFF2-40B4-BE49-F238E27FC236}">
                    <a16:creationId xmlns:a16="http://schemas.microsoft.com/office/drawing/2014/main" id="{F68C7889-25E0-4F59-FE67-22DEFE5F110A}"/>
                  </a:ext>
                </a:extLst>
              </p:cNvPr>
              <p:cNvSpPr txBox="1"/>
              <p:nvPr/>
            </p:nvSpPr>
            <p:spPr>
              <a:xfrm>
                <a:off x="323528" y="5929535"/>
                <a:ext cx="3028073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:0.1+</m:t>
                      </m:r>
                      <m:d>
                        <m:dPr>
                          <m:ctrlP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000" b="0" i="1" smtClean="0">
                              <a:solidFill>
                                <a:srgbClr val="ED145B"/>
                              </a:solidFill>
                              <a:latin typeface="Cambria Math" panose="02040503050406030204" pitchFamily="18" charset="0"/>
                            </a:rPr>
                            <m:t>0.1∗1 ∗1</m:t>
                          </m:r>
                        </m:e>
                      </m:d>
                      <m:r>
                        <a:rPr lang="pt-BR" sz="2000" b="0" i="1" smtClean="0">
                          <a:solidFill>
                            <a:srgbClr val="ED145B"/>
                          </a:solidFill>
                          <a:latin typeface="Cambria Math" panose="02040503050406030204" pitchFamily="18" charset="0"/>
                        </a:rPr>
                        <m:t>=0.2</m:t>
                      </m:r>
                    </m:oMath>
                  </m:oMathPara>
                </a14:m>
                <a:endParaRPr lang="pt-BR" sz="2000" dirty="0">
                  <a:solidFill>
                    <a:srgbClr val="ED145B"/>
                  </a:solidFill>
                </a:endParaRPr>
              </a:p>
            </p:txBody>
          </p:sp>
        </mc:Choice>
        <mc:Fallback xmlns="">
          <p:sp>
            <p:nvSpPr>
              <p:cNvPr id="29" name="CaixaDeTexto 28">
                <a:extLst>
                  <a:ext uri="{FF2B5EF4-FFF2-40B4-BE49-F238E27FC236}">
                    <a16:creationId xmlns:a16="http://schemas.microsoft.com/office/drawing/2014/main" id="{F68C7889-25E0-4F59-FE67-22DEFE5F11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528" y="5929535"/>
                <a:ext cx="3028073" cy="307777"/>
              </a:xfrm>
              <a:prstGeom prst="rect">
                <a:avLst/>
              </a:prstGeom>
              <a:blipFill>
                <a:blip r:embed="rId5"/>
                <a:stretch>
                  <a:fillRect l="-1408" r="-1610" b="-8000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8334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juste de pesos – Treino da Rede Neural!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4B1A2FD-0910-F508-C927-031051423D5C}"/>
              </a:ext>
            </a:extLst>
          </p:cNvPr>
          <p:cNvSpPr/>
          <p:nvPr/>
        </p:nvSpPr>
        <p:spPr>
          <a:xfrm>
            <a:off x="1229348" y="5358670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ACFD4053-0EDF-24FC-657B-A3EF1AD69D38}"/>
              </a:ext>
            </a:extLst>
          </p:cNvPr>
          <p:cNvCxnSpPr>
            <a:endCxn id="5" idx="1"/>
          </p:cNvCxnSpPr>
          <p:nvPr/>
        </p:nvCxnSpPr>
        <p:spPr>
          <a:xfrm>
            <a:off x="611560" y="5085184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FFD4BE93-7B90-2DEA-9DC4-721F5C84914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635039" y="5973228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3E34BF2D-FEA1-8414-2C91-DBCDB32D2544}"/>
              </a:ext>
            </a:extLst>
          </p:cNvPr>
          <p:cNvCxnSpPr>
            <a:cxnSpLocks/>
            <a:stCxn id="5" idx="6"/>
            <a:endCxn id="12" idx="1"/>
          </p:cNvCxnSpPr>
          <p:nvPr/>
        </p:nvCxnSpPr>
        <p:spPr>
          <a:xfrm>
            <a:off x="1949348" y="5718670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29777160-BA8A-E30E-9C35-E997F073C733}"/>
              </a:ext>
            </a:extLst>
          </p:cNvPr>
          <p:cNvSpPr/>
          <p:nvPr/>
        </p:nvSpPr>
        <p:spPr>
          <a:xfrm>
            <a:off x="3749468" y="5358670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.4)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D66B1245-EAE8-3D23-3457-F53BD99FB6C1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4859912" y="5718670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F5EE6E-91F2-DAC7-1BAE-65A2945B8CAB}"/>
              </a:ext>
            </a:extLst>
          </p:cNvPr>
          <p:cNvSpPr txBox="1"/>
          <p:nvPr/>
        </p:nvSpPr>
        <p:spPr>
          <a:xfrm>
            <a:off x="197768" y="4869160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A953D62-BD13-CC01-59FF-5A42EDFABACE}"/>
              </a:ext>
            </a:extLst>
          </p:cNvPr>
          <p:cNvSpPr txBox="1"/>
          <p:nvPr/>
        </p:nvSpPr>
        <p:spPr>
          <a:xfrm>
            <a:off x="179512" y="6156012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268A306-3DF1-436B-CB18-297C930F9D93}"/>
              </a:ext>
            </a:extLst>
          </p:cNvPr>
          <p:cNvSpPr txBox="1"/>
          <p:nvPr/>
        </p:nvSpPr>
        <p:spPr>
          <a:xfrm>
            <a:off x="5742384" y="5517232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A922CB7-BEC3-8587-2685-5EF34B3F19D9}"/>
              </a:ext>
            </a:extLst>
          </p:cNvPr>
          <p:cNvSpPr txBox="1"/>
          <p:nvPr/>
        </p:nvSpPr>
        <p:spPr>
          <a:xfrm>
            <a:off x="2051720" y="5219908"/>
            <a:ext cx="15120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1</a:t>
            </a:r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*0.2 + 1*0.2</a:t>
            </a:r>
            <a:endParaRPr lang="pt-BR" dirty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BF6B057C-92B6-8A68-260D-BBFAA6A91914}"/>
              </a:ext>
            </a:extLst>
          </p:cNvPr>
          <p:cNvSpPr/>
          <p:nvPr/>
        </p:nvSpPr>
        <p:spPr>
          <a:xfrm>
            <a:off x="1445372" y="190228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26" name="Conector de Seta Reta 25">
            <a:extLst>
              <a:ext uri="{FF2B5EF4-FFF2-40B4-BE49-F238E27FC236}">
                <a16:creationId xmlns:a16="http://schemas.microsoft.com/office/drawing/2014/main" id="{CA42C8AB-7EF9-F891-2FE8-2DEC2FD8398E}"/>
              </a:ext>
            </a:extLst>
          </p:cNvPr>
          <p:cNvCxnSpPr>
            <a:endCxn id="4" idx="1"/>
          </p:cNvCxnSpPr>
          <p:nvPr/>
        </p:nvCxnSpPr>
        <p:spPr>
          <a:xfrm>
            <a:off x="827584" y="162880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de Seta Reta 26">
            <a:extLst>
              <a:ext uri="{FF2B5EF4-FFF2-40B4-BE49-F238E27FC236}">
                <a16:creationId xmlns:a16="http://schemas.microsoft.com/office/drawing/2014/main" id="{65DED99B-5BCA-FD71-C56C-BDA1BCBEA46A}"/>
              </a:ext>
            </a:extLst>
          </p:cNvPr>
          <p:cNvCxnSpPr>
            <a:cxnSpLocks/>
            <a:endCxn id="4" idx="3"/>
          </p:cNvCxnSpPr>
          <p:nvPr/>
        </p:nvCxnSpPr>
        <p:spPr>
          <a:xfrm flipV="1">
            <a:off x="851063" y="251684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de Seta Reta 27">
            <a:extLst>
              <a:ext uri="{FF2B5EF4-FFF2-40B4-BE49-F238E27FC236}">
                <a16:creationId xmlns:a16="http://schemas.microsoft.com/office/drawing/2014/main" id="{21761C88-FEAB-B711-AB75-BED4661FDDD0}"/>
              </a:ext>
            </a:extLst>
          </p:cNvPr>
          <p:cNvCxnSpPr>
            <a:cxnSpLocks/>
            <a:stCxn id="4" idx="6"/>
            <a:endCxn id="29" idx="1"/>
          </p:cNvCxnSpPr>
          <p:nvPr/>
        </p:nvCxnSpPr>
        <p:spPr>
          <a:xfrm>
            <a:off x="2165372" y="226228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tângulo: Cantos Arredondados 28">
            <a:extLst>
              <a:ext uri="{FF2B5EF4-FFF2-40B4-BE49-F238E27FC236}">
                <a16:creationId xmlns:a16="http://schemas.microsoft.com/office/drawing/2014/main" id="{DC93C57B-5898-94F8-A9E4-2961DB435540}"/>
              </a:ext>
            </a:extLst>
          </p:cNvPr>
          <p:cNvSpPr/>
          <p:nvPr/>
        </p:nvSpPr>
        <p:spPr>
          <a:xfrm>
            <a:off x="3965492" y="190228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.0)</a:t>
            </a:r>
          </a:p>
        </p:txBody>
      </p:sp>
      <p:cxnSp>
        <p:nvCxnSpPr>
          <p:cNvPr id="30" name="Conector de Seta Reta 29">
            <a:extLst>
              <a:ext uri="{FF2B5EF4-FFF2-40B4-BE49-F238E27FC236}">
                <a16:creationId xmlns:a16="http://schemas.microsoft.com/office/drawing/2014/main" id="{76F3A9D7-D7FC-67D5-7186-7A6E870A97F2}"/>
              </a:ext>
            </a:extLst>
          </p:cNvPr>
          <p:cNvCxnSpPr>
            <a:cxnSpLocks/>
            <a:stCxn id="29" idx="3"/>
          </p:cNvCxnSpPr>
          <p:nvPr/>
        </p:nvCxnSpPr>
        <p:spPr>
          <a:xfrm>
            <a:off x="5075936" y="226228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58C8771D-1904-38B0-AD48-A2D64925B5EA}"/>
              </a:ext>
            </a:extLst>
          </p:cNvPr>
          <p:cNvSpPr txBox="1"/>
          <p:nvPr/>
        </p:nvSpPr>
        <p:spPr>
          <a:xfrm>
            <a:off x="413792" y="141277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1D31DF62-CFE7-88C5-DD6A-8E42C8184858}"/>
              </a:ext>
            </a:extLst>
          </p:cNvPr>
          <p:cNvSpPr txBox="1"/>
          <p:nvPr/>
        </p:nvSpPr>
        <p:spPr>
          <a:xfrm>
            <a:off x="395536" y="269962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B5A27489-2DB7-0B6D-A128-53114C971B54}"/>
              </a:ext>
            </a:extLst>
          </p:cNvPr>
          <p:cNvSpPr txBox="1"/>
          <p:nvPr/>
        </p:nvSpPr>
        <p:spPr>
          <a:xfrm>
            <a:off x="5958408" y="20608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07242228-1EF7-3067-3E90-CDB2BA8E3553}"/>
              </a:ext>
            </a:extLst>
          </p:cNvPr>
          <p:cNvSpPr txBox="1"/>
          <p:nvPr/>
        </p:nvSpPr>
        <p:spPr>
          <a:xfrm>
            <a:off x="2267744" y="1763524"/>
            <a:ext cx="15120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0*0.2 + 0*0.2</a:t>
            </a:r>
            <a:endParaRPr lang="pt-BR" dirty="0"/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BFB18993-9835-93FE-4F15-60185BB122D5}"/>
              </a:ext>
            </a:extLst>
          </p:cNvPr>
          <p:cNvSpPr/>
          <p:nvPr/>
        </p:nvSpPr>
        <p:spPr>
          <a:xfrm>
            <a:off x="3893644" y="3702486"/>
            <a:ext cx="720000" cy="720000"/>
          </a:xfrm>
          <a:prstGeom prst="ellipse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Ʃ</a:t>
            </a:r>
          </a:p>
        </p:txBody>
      </p:sp>
      <p:cxnSp>
        <p:nvCxnSpPr>
          <p:cNvPr id="36" name="Conector de Seta Reta 35">
            <a:extLst>
              <a:ext uri="{FF2B5EF4-FFF2-40B4-BE49-F238E27FC236}">
                <a16:creationId xmlns:a16="http://schemas.microsoft.com/office/drawing/2014/main" id="{94764305-40A5-6171-ECB2-0A91D727BD9F}"/>
              </a:ext>
            </a:extLst>
          </p:cNvPr>
          <p:cNvCxnSpPr>
            <a:endCxn id="35" idx="1"/>
          </p:cNvCxnSpPr>
          <p:nvPr/>
        </p:nvCxnSpPr>
        <p:spPr>
          <a:xfrm>
            <a:off x="3275856" y="3429000"/>
            <a:ext cx="723230" cy="378928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de Seta Reta 36">
            <a:extLst>
              <a:ext uri="{FF2B5EF4-FFF2-40B4-BE49-F238E27FC236}">
                <a16:creationId xmlns:a16="http://schemas.microsoft.com/office/drawing/2014/main" id="{0862B6C0-DDD8-8A67-7BE7-B3C6B1979C3D}"/>
              </a:ext>
            </a:extLst>
          </p:cNvPr>
          <p:cNvCxnSpPr>
            <a:cxnSpLocks/>
            <a:endCxn id="35" idx="3"/>
          </p:cNvCxnSpPr>
          <p:nvPr/>
        </p:nvCxnSpPr>
        <p:spPr>
          <a:xfrm flipV="1">
            <a:off x="3299335" y="4317044"/>
            <a:ext cx="699751" cy="349676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de Seta Reta 37">
            <a:extLst>
              <a:ext uri="{FF2B5EF4-FFF2-40B4-BE49-F238E27FC236}">
                <a16:creationId xmlns:a16="http://schemas.microsoft.com/office/drawing/2014/main" id="{D161B127-D3DA-A779-A786-69522E8DD39D}"/>
              </a:ext>
            </a:extLst>
          </p:cNvPr>
          <p:cNvCxnSpPr>
            <a:cxnSpLocks/>
            <a:stCxn id="35" idx="6"/>
            <a:endCxn id="39" idx="1"/>
          </p:cNvCxnSpPr>
          <p:nvPr/>
        </p:nvCxnSpPr>
        <p:spPr>
          <a:xfrm>
            <a:off x="4613644" y="4062486"/>
            <a:ext cx="1800120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tângulo: Cantos Arredondados 38">
            <a:extLst>
              <a:ext uri="{FF2B5EF4-FFF2-40B4-BE49-F238E27FC236}">
                <a16:creationId xmlns:a16="http://schemas.microsoft.com/office/drawing/2014/main" id="{F6A8D0AE-A57E-1372-9DA2-426784F9F996}"/>
              </a:ext>
            </a:extLst>
          </p:cNvPr>
          <p:cNvSpPr/>
          <p:nvPr/>
        </p:nvSpPr>
        <p:spPr>
          <a:xfrm>
            <a:off x="6413764" y="3702486"/>
            <a:ext cx="1110444" cy="720000"/>
          </a:xfrm>
          <a:prstGeom prst="roundRect">
            <a:avLst/>
          </a:prstGeom>
          <a:solidFill>
            <a:srgbClr val="ED265B"/>
          </a:solidFill>
          <a:ln>
            <a:solidFill>
              <a:srgbClr val="ED14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f(0.2)</a:t>
            </a:r>
          </a:p>
        </p:txBody>
      </p:sp>
      <p:cxnSp>
        <p:nvCxnSpPr>
          <p:cNvPr id="40" name="Conector de Seta Reta 39">
            <a:extLst>
              <a:ext uri="{FF2B5EF4-FFF2-40B4-BE49-F238E27FC236}">
                <a16:creationId xmlns:a16="http://schemas.microsoft.com/office/drawing/2014/main" id="{6BE130F3-B1C8-8B6C-29B9-E4320CDE4757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7524208" y="4062486"/>
            <a:ext cx="864136" cy="0"/>
          </a:xfrm>
          <a:prstGeom prst="straightConnector1">
            <a:avLst/>
          </a:prstGeom>
          <a:ln w="76200">
            <a:solidFill>
              <a:srgbClr val="ED145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3AEDC0BC-0565-57E6-7174-E69F66B080B1}"/>
              </a:ext>
            </a:extLst>
          </p:cNvPr>
          <p:cNvSpPr txBox="1"/>
          <p:nvPr/>
        </p:nvSpPr>
        <p:spPr>
          <a:xfrm>
            <a:off x="2862064" y="3212976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1</a:t>
            </a:r>
            <a:endParaRPr lang="pt-BR" dirty="0"/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0B235A79-12CC-8C09-51B4-C926CC7CF89D}"/>
              </a:ext>
            </a:extLst>
          </p:cNvPr>
          <p:cNvSpPr txBox="1"/>
          <p:nvPr/>
        </p:nvSpPr>
        <p:spPr>
          <a:xfrm>
            <a:off x="2843808" y="449982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30056736-0DBE-5C7F-6F41-F969267A6BA3}"/>
              </a:ext>
            </a:extLst>
          </p:cNvPr>
          <p:cNvSpPr txBox="1"/>
          <p:nvPr/>
        </p:nvSpPr>
        <p:spPr>
          <a:xfrm>
            <a:off x="8406680" y="3861048"/>
            <a:ext cx="413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</a:rPr>
              <a:t>0</a:t>
            </a:r>
            <a:endParaRPr lang="pt-BR" dirty="0"/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C3585233-FB8A-439B-00D2-FB2CF147242A}"/>
              </a:ext>
            </a:extLst>
          </p:cNvPr>
          <p:cNvSpPr txBox="1"/>
          <p:nvPr/>
        </p:nvSpPr>
        <p:spPr>
          <a:xfrm>
            <a:off x="4716016" y="3563724"/>
            <a:ext cx="15120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1</a:t>
            </a:r>
            <a:r>
              <a:rPr lang="pt-BR" sz="18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*0.2 + 0*0.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8012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 04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75A45B2-19E7-37EA-60E1-9F8050B7BB15}"/>
              </a:ext>
            </a:extLst>
          </p:cNvPr>
          <p:cNvSpPr txBox="1"/>
          <p:nvPr/>
        </p:nvSpPr>
        <p:spPr>
          <a:xfrm>
            <a:off x="179512" y="836712"/>
            <a:ext cx="8964488" cy="102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q"/>
            </a:pPr>
            <a:r>
              <a:rPr lang="pt-BR" sz="1400" dirty="0">
                <a:latin typeface="Gotham HTF Light"/>
                <a:cs typeface="Gotham HTF Light"/>
              </a:rPr>
              <a:t>Encontre os pesos ideias para a Rede Neural Artificial apresentada, mantendo a taxa de aprendizagem de 0.1 e partindo da ultima iteração apresentada.</a:t>
            </a:r>
            <a:endParaRPr lang="en-US" sz="1400" dirty="0">
              <a:latin typeface="Gotham HTF Light"/>
              <a:cs typeface="Gotham HTF Light"/>
            </a:endParaRP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endParaRPr lang="en-US" sz="1400" dirty="0">
              <a:latin typeface="Gotham HTF Light"/>
              <a:cs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202923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E4445145-AB3F-8021-4E82-CC4CF05D5F47}"/>
              </a:ext>
            </a:extLst>
          </p:cNvPr>
          <p:cNvSpPr txBox="1"/>
          <p:nvPr/>
        </p:nvSpPr>
        <p:spPr>
          <a:xfrm>
            <a:off x="175286" y="1057943"/>
            <a:ext cx="4248473" cy="50353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conjunto de dados Iris é um </a:t>
            </a:r>
            <a:r>
              <a:rPr lang="pt-BR" dirty="0" err="1">
                <a:latin typeface="Gotham HTF"/>
              </a:rPr>
              <a:t>dataset</a:t>
            </a:r>
            <a:r>
              <a:rPr lang="pt-BR" dirty="0">
                <a:latin typeface="Gotham HTF"/>
              </a:rPr>
              <a:t> clássico de aprendizado de máquina que contém informações sobre três espécies diferentes de flores Iris. </a:t>
            </a:r>
          </a:p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Cada flor é caracterizada por quatro atributos: comprimento da sépala, largura da sépala, comprimento da pétala e largura da pétala. </a:t>
            </a:r>
          </a:p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objetivo deste laboratório é criar um modelo de 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Rede Neural </a:t>
            </a:r>
            <a:r>
              <a:rPr lang="pt-BR" b="1" dirty="0" err="1">
                <a:solidFill>
                  <a:srgbClr val="ED145B"/>
                </a:solidFill>
                <a:latin typeface="Gotham HTF"/>
              </a:rPr>
              <a:t>Perceptron</a:t>
            </a:r>
            <a:r>
              <a:rPr lang="pt-BR" b="1" dirty="0">
                <a:solidFill>
                  <a:srgbClr val="ED145B"/>
                </a:solidFill>
                <a:latin typeface="Gotham HTF"/>
              </a:rPr>
              <a:t> </a:t>
            </a:r>
            <a:r>
              <a:rPr lang="pt-BR" dirty="0">
                <a:latin typeface="Gotham HTF"/>
              </a:rPr>
              <a:t>para classificar os dados de acordo com essas três espécies.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08AA415-0ABA-7C89-AC61-ADBBBDD03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9045" y="1390785"/>
            <a:ext cx="4369668" cy="4369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488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36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5F7D95"/>
                </a:solidFill>
                <a:effectLst/>
                <a:latin typeface="Proxima Nova"/>
              </a:rPr>
              <a:t>This presentation has been designed using images from Flaticon.com</a:t>
            </a:r>
          </a:p>
        </p:txBody>
      </p:sp>
    </p:spTree>
    <p:extLst>
      <p:ext uri="{BB962C8B-B14F-4D97-AF65-F5344CB8AC3E}">
        <p14:creationId xmlns:p14="http://schemas.microsoft.com/office/powerpoint/2010/main" val="451317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8015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O que é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uma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Rede Neural Artificial?</a:t>
            </a:r>
          </a:p>
          <a:p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3A0F170-9DCA-26C5-D3F1-83A0C41B6658}"/>
              </a:ext>
            </a:extLst>
          </p:cNvPr>
          <p:cNvSpPr txBox="1"/>
          <p:nvPr/>
        </p:nvSpPr>
        <p:spPr>
          <a:xfrm>
            <a:off x="179512" y="1124744"/>
            <a:ext cx="5544616" cy="5450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dirty="0">
                <a:latin typeface="Gotham HTF Light"/>
                <a:cs typeface="Gotham HTF Light"/>
              </a:rPr>
              <a:t>É um </a:t>
            </a:r>
            <a:r>
              <a:rPr lang="en-US" dirty="0" err="1">
                <a:latin typeface="Gotham HTF Light"/>
                <a:cs typeface="Gotham HTF Light"/>
              </a:rPr>
              <a:t>modelo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computacional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inspirado</a:t>
            </a:r>
            <a:r>
              <a:rPr lang="en-US" dirty="0">
                <a:latin typeface="Gotham HTF Light"/>
                <a:cs typeface="Gotham HTF Light"/>
              </a:rPr>
              <a:t> no </a:t>
            </a:r>
            <a:r>
              <a:rPr lang="en-US" dirty="0" err="1">
                <a:latin typeface="Gotham HTF Light"/>
                <a:cs typeface="Gotham HTF Light"/>
              </a:rPr>
              <a:t>funcionamento</a:t>
            </a:r>
            <a:r>
              <a:rPr lang="en-US" dirty="0">
                <a:latin typeface="Gotham HTF Light"/>
                <a:cs typeface="Gotham HTF Light"/>
              </a:rPr>
              <a:t> do </a:t>
            </a:r>
            <a:r>
              <a:rPr lang="en-US" dirty="0" err="1">
                <a:latin typeface="Gotham HTF Light"/>
                <a:cs typeface="Gotham HTF Light"/>
              </a:rPr>
              <a:t>cérebro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humano</a:t>
            </a:r>
            <a:r>
              <a:rPr lang="en-US" dirty="0">
                <a:latin typeface="Gotham HTF Light"/>
                <a:cs typeface="Gotham HTF Light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endParaRPr lang="en-US" dirty="0">
              <a:latin typeface="Gotham HTF Light"/>
              <a:cs typeface="Gotham HTF Light"/>
            </a:endParaRP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dirty="0">
                <a:latin typeface="Gotham HTF Light"/>
                <a:cs typeface="Gotham HTF Light"/>
              </a:rPr>
              <a:t>É </a:t>
            </a:r>
            <a:r>
              <a:rPr lang="en-US" dirty="0" err="1">
                <a:latin typeface="Gotham HTF Light"/>
                <a:cs typeface="Gotham HTF Light"/>
              </a:rPr>
              <a:t>uma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técnica</a:t>
            </a:r>
            <a:r>
              <a:rPr lang="en-US" dirty="0">
                <a:latin typeface="Gotham HTF Light"/>
                <a:cs typeface="Gotham HTF Light"/>
              </a:rPr>
              <a:t> de </a:t>
            </a:r>
            <a:r>
              <a:rPr lang="en-US" dirty="0" err="1">
                <a:latin typeface="Gotham HTF Light"/>
                <a:cs typeface="Gotham HTF Light"/>
              </a:rPr>
              <a:t>Inteligência</a:t>
            </a:r>
            <a:r>
              <a:rPr lang="en-US" dirty="0">
                <a:latin typeface="Gotham HTF Light"/>
                <a:cs typeface="Gotham HTF Light"/>
              </a:rPr>
              <a:t> Artificial </a:t>
            </a:r>
            <a:r>
              <a:rPr lang="en-US" dirty="0" err="1">
                <a:latin typeface="Gotham HTF Light"/>
                <a:cs typeface="Gotham HTF Light"/>
              </a:rPr>
              <a:t>utlizada</a:t>
            </a:r>
            <a:r>
              <a:rPr lang="en-US" dirty="0">
                <a:latin typeface="Gotham HTF Light"/>
                <a:cs typeface="Gotham HTF Light"/>
              </a:rPr>
              <a:t> para </a:t>
            </a:r>
            <a:r>
              <a:rPr lang="en-US" dirty="0" err="1">
                <a:latin typeface="Gotham HTF Light"/>
                <a:cs typeface="Gotham HTF Light"/>
              </a:rPr>
              <a:t>tarefas</a:t>
            </a:r>
            <a:r>
              <a:rPr lang="en-US" dirty="0">
                <a:latin typeface="Gotham HTF Light"/>
                <a:cs typeface="Gotham HTF Light"/>
              </a:rPr>
              <a:t> de </a:t>
            </a:r>
            <a:r>
              <a:rPr lang="en-US" dirty="0" err="1">
                <a:latin typeface="Gotham HTF Light"/>
                <a:cs typeface="Gotham HTF Light"/>
              </a:rPr>
              <a:t>classificação</a:t>
            </a:r>
            <a:r>
              <a:rPr lang="en-US" dirty="0">
                <a:latin typeface="Gotham HTF Light"/>
                <a:cs typeface="Gotham HTF Light"/>
              </a:rPr>
              <a:t>, </a:t>
            </a:r>
            <a:r>
              <a:rPr lang="en-US" dirty="0" err="1">
                <a:latin typeface="Gotham HTF Light"/>
                <a:cs typeface="Gotham HTF Light"/>
              </a:rPr>
              <a:t>reconhecimento</a:t>
            </a:r>
            <a:r>
              <a:rPr lang="en-US" dirty="0">
                <a:latin typeface="Gotham HTF Light"/>
                <a:cs typeface="Gotham HTF Light"/>
              </a:rPr>
              <a:t> de </a:t>
            </a:r>
            <a:r>
              <a:rPr lang="en-US" dirty="0" err="1">
                <a:latin typeface="Gotham HTF Light"/>
                <a:cs typeface="Gotham HTF Light"/>
              </a:rPr>
              <a:t>padrões</a:t>
            </a:r>
            <a:r>
              <a:rPr lang="en-US" dirty="0">
                <a:latin typeface="Gotham HTF Light"/>
                <a:cs typeface="Gotham HTF Light"/>
              </a:rPr>
              <a:t>, </a:t>
            </a:r>
            <a:r>
              <a:rPr lang="en-US" dirty="0" err="1">
                <a:latin typeface="Gotham HTF Light"/>
                <a:cs typeface="Gotham HTF Light"/>
              </a:rPr>
              <a:t>previsão</a:t>
            </a:r>
            <a:r>
              <a:rPr lang="en-US" dirty="0">
                <a:latin typeface="Gotham HTF Light"/>
                <a:cs typeface="Gotham HTF Light"/>
              </a:rPr>
              <a:t> de </a:t>
            </a:r>
            <a:r>
              <a:rPr lang="en-US" dirty="0" err="1">
                <a:latin typeface="Gotham HTF Light"/>
                <a:cs typeface="Gotham HTF Light"/>
              </a:rPr>
              <a:t>valores</a:t>
            </a:r>
            <a:r>
              <a:rPr lang="en-US" dirty="0">
                <a:latin typeface="Gotham HTF Light"/>
                <a:cs typeface="Gotham HTF Light"/>
              </a:rPr>
              <a:t>, entre </a:t>
            </a:r>
            <a:r>
              <a:rPr lang="en-US" dirty="0" err="1">
                <a:latin typeface="Gotham HTF Light"/>
                <a:cs typeface="Gotham HTF Light"/>
              </a:rPr>
              <a:t>outras</a:t>
            </a:r>
            <a:r>
              <a:rPr lang="en-US" dirty="0">
                <a:latin typeface="Gotham HTF Light"/>
                <a:cs typeface="Gotham HTF Light"/>
              </a:rPr>
              <a:t>;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endParaRPr lang="en-US" dirty="0">
              <a:latin typeface="Gotham HTF Light"/>
              <a:cs typeface="Gotham HTF Light"/>
            </a:endParaRP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dirty="0">
                <a:latin typeface="Gotham HTF Light"/>
                <a:cs typeface="Gotham HTF Light"/>
              </a:rPr>
              <a:t>É um conjunto de </a:t>
            </a:r>
            <a:r>
              <a:rPr lang="en-US" dirty="0" err="1">
                <a:latin typeface="Gotham HTF Light"/>
                <a:cs typeface="Gotham HTF Light"/>
              </a:rPr>
              <a:t>neurônios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artificiais</a:t>
            </a:r>
            <a:r>
              <a:rPr lang="en-US" dirty="0">
                <a:latin typeface="Gotham HTF Light"/>
                <a:cs typeface="Gotham HTF Light"/>
              </a:rPr>
              <a:t> (</a:t>
            </a:r>
            <a:r>
              <a:rPr lang="en-US" dirty="0" err="1">
                <a:latin typeface="Gotham HTF Light"/>
                <a:cs typeface="Gotham HTF Light"/>
              </a:rPr>
              <a:t>nós</a:t>
            </a:r>
            <a:r>
              <a:rPr lang="en-US" dirty="0">
                <a:latin typeface="Gotham HTF Light"/>
                <a:cs typeface="Gotham HTF Light"/>
              </a:rPr>
              <a:t>), </a:t>
            </a:r>
            <a:r>
              <a:rPr lang="en-US" dirty="0" err="1">
                <a:latin typeface="Gotham HTF Light"/>
                <a:cs typeface="Gotham HTF Light"/>
              </a:rPr>
              <a:t>organizados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em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camadas</a:t>
            </a:r>
            <a:r>
              <a:rPr lang="en-US" dirty="0">
                <a:latin typeface="Gotham HTF Light"/>
                <a:cs typeface="Gotham HTF Light"/>
              </a:rPr>
              <a:t>, que </a:t>
            </a:r>
            <a:r>
              <a:rPr lang="en-US" dirty="0" err="1">
                <a:latin typeface="Gotham HTF Light"/>
                <a:cs typeface="Gotham HTF Light"/>
              </a:rPr>
              <a:t>processam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informações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por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meio</a:t>
            </a:r>
            <a:r>
              <a:rPr lang="en-US" dirty="0">
                <a:latin typeface="Gotham HTF Light"/>
                <a:cs typeface="Gotham HTF Light"/>
              </a:rPr>
              <a:t> de </a:t>
            </a:r>
            <a:r>
              <a:rPr lang="en-US" dirty="0" err="1">
                <a:latin typeface="Gotham HTF Light"/>
                <a:cs typeface="Gotham HTF Light"/>
              </a:rPr>
              <a:t>operações</a:t>
            </a:r>
            <a:r>
              <a:rPr lang="en-US" dirty="0">
                <a:latin typeface="Gotham HTF Light"/>
                <a:cs typeface="Gotham HTF Light"/>
              </a:rPr>
              <a:t> </a:t>
            </a:r>
            <a:r>
              <a:rPr lang="en-US" dirty="0" err="1">
                <a:latin typeface="Gotham HTF Light"/>
                <a:cs typeface="Gotham HTF Light"/>
              </a:rPr>
              <a:t>matemáticas</a:t>
            </a:r>
            <a:r>
              <a:rPr lang="en-US" dirty="0">
                <a:latin typeface="Gotham HTF Light"/>
                <a:cs typeface="Gotham HTF Light"/>
              </a:rPr>
              <a:t> (</a:t>
            </a:r>
            <a:r>
              <a:rPr lang="en-US" dirty="0" err="1">
                <a:latin typeface="Gotham HTF Light"/>
                <a:cs typeface="Gotham HTF Light"/>
              </a:rPr>
              <a:t>funções</a:t>
            </a:r>
            <a:r>
              <a:rPr lang="en-US" dirty="0">
                <a:latin typeface="Gotham HTF Light"/>
                <a:cs typeface="Gotham HTF Light"/>
              </a:rPr>
              <a:t> de </a:t>
            </a:r>
            <a:r>
              <a:rPr lang="en-US" dirty="0" err="1">
                <a:latin typeface="Gotham HTF Light"/>
                <a:cs typeface="Gotham HTF Light"/>
              </a:rPr>
              <a:t>ativação</a:t>
            </a:r>
            <a:r>
              <a:rPr lang="en-US" dirty="0">
                <a:latin typeface="Gotham HTF Light"/>
                <a:cs typeface="Gotham HTF Light"/>
              </a:rPr>
              <a:t>);</a:t>
            </a: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endParaRPr lang="en-US" dirty="0">
              <a:latin typeface="Gotham HTF Light"/>
              <a:cs typeface="Gotham HTF Light"/>
            </a:endParaRPr>
          </a:p>
          <a:p>
            <a:pPr marL="800100" lvl="1" indent="-3429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endParaRPr lang="en-US" dirty="0">
              <a:latin typeface="Gotham HTF Light"/>
              <a:cs typeface="Gotham HTF Ligh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B982F3B0-D817-9D4B-E73B-5132B264BB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668" y="1944724"/>
            <a:ext cx="3158820" cy="3158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5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715A15E6-229E-9A42-09C0-40D237600C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1987764"/>
              </p:ext>
            </p:extLst>
          </p:nvPr>
        </p:nvGraphicFramePr>
        <p:xfrm>
          <a:off x="720452" y="980728"/>
          <a:ext cx="8172028" cy="32696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Quando surgiu a Rede Neural Artificial?</a:t>
            </a:r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59978F48-8719-06AF-862B-06D0008ACB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9167415"/>
              </p:ext>
            </p:extLst>
          </p:nvPr>
        </p:nvGraphicFramePr>
        <p:xfrm>
          <a:off x="179512" y="3543774"/>
          <a:ext cx="8172028" cy="32696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43091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Onde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podemos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aplicar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uma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Rede Neural Artificial?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6D4D0075-7EDF-7246-19E2-4633EA9B8A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884498"/>
            <a:ext cx="3936934" cy="2624622"/>
          </a:xfrm>
          <a:prstGeom prst="rect">
            <a:avLst/>
          </a:prstGeom>
        </p:spPr>
      </p:pic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72028B4-9DA3-0C54-CE40-12B153F8A1E8}"/>
              </a:ext>
            </a:extLst>
          </p:cNvPr>
          <p:cNvGrpSpPr/>
          <p:nvPr/>
        </p:nvGrpSpPr>
        <p:grpSpPr>
          <a:xfrm>
            <a:off x="4313522" y="1853001"/>
            <a:ext cx="4774345" cy="3808247"/>
            <a:chOff x="4313522" y="1853001"/>
            <a:chExt cx="4774345" cy="3808247"/>
          </a:xfrm>
        </p:grpSpPr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62CD3710-AB12-A8FC-B681-090F5F22FD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3522" y="1853001"/>
              <a:ext cx="4774345" cy="3161323"/>
            </a:xfrm>
            <a:prstGeom prst="rect">
              <a:avLst/>
            </a:prstGeom>
          </p:spPr>
        </p:pic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A29DC4F1-948D-D7EB-6122-46EE5C912544}"/>
                </a:ext>
              </a:extLst>
            </p:cNvPr>
            <p:cNvSpPr txBox="1"/>
            <p:nvPr/>
          </p:nvSpPr>
          <p:spPr>
            <a:xfrm>
              <a:off x="4355976" y="5087308"/>
              <a:ext cx="4731891" cy="5739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  <a:buClr>
                  <a:srgbClr val="ED265B"/>
                </a:buClr>
              </a:pPr>
              <a:r>
                <a:rPr lang="en-US" sz="1050" dirty="0">
                  <a:latin typeface="Gotham HTF Light"/>
                  <a:cs typeface="Gotham HTF Light"/>
                </a:rPr>
                <a:t>Fonte: “A Wave of Billion-Dollar Computer Vision Startups Is Coming, TOEWS Rob, Forbes, 2021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628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Onde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podemos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aplicar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uma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Rede Neural Artificial?</a:t>
            </a:r>
          </a:p>
          <a:p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6D4D0075-7EDF-7246-19E2-4633EA9B8A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884498"/>
            <a:ext cx="3936934" cy="2624622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62CD3710-AB12-A8FC-B681-090F5F22FD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522" y="1853001"/>
            <a:ext cx="4774345" cy="3161323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A29DC4F1-948D-D7EB-6122-46EE5C912544}"/>
              </a:ext>
            </a:extLst>
          </p:cNvPr>
          <p:cNvSpPr txBox="1"/>
          <p:nvPr/>
        </p:nvSpPr>
        <p:spPr>
          <a:xfrm>
            <a:off x="4355976" y="5087308"/>
            <a:ext cx="4731891" cy="573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050" dirty="0">
                <a:latin typeface="Gotham HTF Light"/>
                <a:cs typeface="Gotham HTF Light"/>
              </a:rPr>
              <a:t>Fonte: “A Wave of Billion-Dollar Computer Vision Startups Is Coming, TOEWS Rob, Forbes, 2021;</a:t>
            </a:r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4673518D-4ED8-1570-36E8-09C637300C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2269162"/>
            <a:ext cx="6498349" cy="340994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7C3B1AF8-EA21-6CE8-EF72-5388C1FB793A}"/>
              </a:ext>
            </a:extLst>
          </p:cNvPr>
          <p:cNvSpPr txBox="1"/>
          <p:nvPr/>
        </p:nvSpPr>
        <p:spPr>
          <a:xfrm>
            <a:off x="1187624" y="5661248"/>
            <a:ext cx="6498349" cy="309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050" dirty="0">
                <a:latin typeface="Gotham HTF Light"/>
                <a:cs typeface="Gotham HTF Light"/>
              </a:rPr>
              <a:t>Fonte: “Top 10 Facial Recognition APIs &amp; Software of 2021”, WALLING Alex, rapidapi.com, 2021;</a:t>
            </a:r>
          </a:p>
        </p:txBody>
      </p:sp>
    </p:spTree>
    <p:extLst>
      <p:ext uri="{BB962C8B-B14F-4D97-AF65-F5344CB8AC3E}">
        <p14:creationId xmlns:p14="http://schemas.microsoft.com/office/powerpoint/2010/main" val="252092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Onde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podemos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aplicar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uma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Rede Neural Artificial?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6D4D0075-7EDF-7246-19E2-4633EA9B8A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884498"/>
            <a:ext cx="3936934" cy="2624622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62CD3710-AB12-A8FC-B681-090F5F22FD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522" y="1853001"/>
            <a:ext cx="4774345" cy="3161323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A29DC4F1-948D-D7EB-6122-46EE5C912544}"/>
              </a:ext>
            </a:extLst>
          </p:cNvPr>
          <p:cNvSpPr txBox="1"/>
          <p:nvPr/>
        </p:nvSpPr>
        <p:spPr>
          <a:xfrm>
            <a:off x="4355976" y="5087308"/>
            <a:ext cx="4731891" cy="573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050" dirty="0">
                <a:latin typeface="Gotham HTF Light"/>
                <a:cs typeface="Gotham HTF Light"/>
              </a:rPr>
              <a:t>Fonte: “A Wave of Billion-Dollar Computer Vision Startups Is Coming, TOEWS Rob, Forbes, 2021;</a:t>
            </a:r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4673518D-4ED8-1570-36E8-09C637300C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2269162"/>
            <a:ext cx="6498349" cy="340994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7C3B1AF8-EA21-6CE8-EF72-5388C1FB793A}"/>
              </a:ext>
            </a:extLst>
          </p:cNvPr>
          <p:cNvSpPr txBox="1"/>
          <p:nvPr/>
        </p:nvSpPr>
        <p:spPr>
          <a:xfrm>
            <a:off x="1187624" y="5661248"/>
            <a:ext cx="6498349" cy="309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ED265B"/>
              </a:buClr>
            </a:pPr>
            <a:r>
              <a:rPr lang="en-US" sz="1050" dirty="0">
                <a:latin typeface="Gotham HTF Light"/>
                <a:cs typeface="Gotham HTF Light"/>
              </a:rPr>
              <a:t>Fonte: “Top 10 Facial Recognition APIs &amp; Software of 2021”, WALLING Alex, rapidapi.com, 2021;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D9A47486-65D5-8181-112C-DBC675DABF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04304" y="2655864"/>
            <a:ext cx="2903343" cy="2469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40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9356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Onde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podemos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aplicar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</a:t>
            </a:r>
            <a:r>
              <a:rPr lang="en-US" sz="4000" dirty="0" err="1">
                <a:solidFill>
                  <a:srgbClr val="ED145B"/>
                </a:solidFill>
                <a:latin typeface="Gotham HTF Light"/>
                <a:cs typeface="Gotham HTF Light"/>
              </a:rPr>
              <a:t>uma</a:t>
            </a:r>
            <a:r>
              <a:rPr lang="en-US" sz="4000" dirty="0">
                <a:solidFill>
                  <a:srgbClr val="ED145B"/>
                </a:solidFill>
                <a:latin typeface="Gotham HTF Light"/>
                <a:cs typeface="Gotham HTF Light"/>
              </a:rPr>
              <a:t> Rede Neural Artificial?</a:t>
            </a:r>
          </a:p>
          <a:p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7" name="Mídia Online 6" title="Upskill and Boeing Use Skylight to Reinvent Wire Harness Assembly">
            <a:hlinkClick r:id="" action="ppaction://media"/>
            <a:extLst>
              <a:ext uri="{FF2B5EF4-FFF2-40B4-BE49-F238E27FC236}">
                <a16:creationId xmlns:a16="http://schemas.microsoft.com/office/drawing/2014/main" id="{BB01CF40-C274-99BA-AEC4-90B1EE9023B1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638159" y="1648055"/>
            <a:ext cx="7867683" cy="4445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979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3F0FC4C_1526_4E4D_A4BF_E37FFB2E5F08&quot;,&quot;SourceFullName&quot;:&quot;https://www.youtube.com/embed/qTblKJjTadQ?feature=oembed&quot;,&quot;LastUpdate&quot;:&quot;2023-06-19 4:27 PM&quot;,&quot;UpdatedBy&quot;:&quot;Airton&quot;,&quot;IsLinked&quot;:false,&quot;IsBrokenLink&quot;:false,&quot;Type&quot;:2}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75</TotalTime>
  <Words>1775</Words>
  <Application>Microsoft Office PowerPoint</Application>
  <PresentationFormat>Apresentação na tela (4:3)</PresentationFormat>
  <Paragraphs>566</Paragraphs>
  <Slides>36</Slides>
  <Notes>32</Notes>
  <HiddenSlides>0</HiddenSlides>
  <MMClips>1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36</vt:i4>
      </vt:variant>
    </vt:vector>
  </HeadingPairs>
  <TitlesOfParts>
    <vt:vector size="47" baseType="lpstr">
      <vt:lpstr>Arial</vt:lpstr>
      <vt:lpstr>Calibri</vt:lpstr>
      <vt:lpstr>Calibri Light</vt:lpstr>
      <vt:lpstr>Cambria Math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512</cp:revision>
  <dcterms:created xsi:type="dcterms:W3CDTF">2018-08-18T04:32:45Z</dcterms:created>
  <dcterms:modified xsi:type="dcterms:W3CDTF">2023-06-19T22:0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